
<file path=[Content_Types].xml><?xml version="1.0" encoding="utf-8"?>
<Types xmlns="http://schemas.openxmlformats.org/package/2006/content-types">
  <Override PartName="/ppt/slides/slide6.xml" ContentType="application/vnd.openxmlformats-officedocument.presentationml.slide+xml"/>
  <Override PartName="/ppt/slides/slide29.xml" ContentType="application/vnd.openxmlformats-officedocument.presentationml.slide+xml"/>
  <Override PartName="/ppt/slides/slide38.xml" ContentType="application/vnd.openxmlformats-officedocument.presentationml.slide+xml"/>
  <Override PartName="/ppt/slides/slide47.xml" ContentType="application/vnd.openxmlformats-officedocument.presentationml.slide+xml"/>
  <Override PartName="/ppt/tags/tag6.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s/slide36.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slides/slide34.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Override PartName="/ppt/theme/themeOverride3.xml" ContentType="application/vnd.openxmlformats-officedocument.themeOverride+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docProps/custom.xml" ContentType="application/vnd.openxmlformats-officedocument.custom-propertie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notesSlides/notesSlide4.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tags/tag7.xml" ContentType="application/vnd.openxmlformats-officedocument.presentationml.tags+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heme/themeOverride4.xml" ContentType="application/vnd.openxmlformats-officedocument.themeOverr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heme/themeOverride2.xml" ContentType="application/vnd.openxmlformats-officedocument.themeOverr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Default Extension="vml" ContentType="application/vnd.openxmlformats-officedocument.vmlDrawing"/>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0"/>
  </p:notesMasterIdLst>
  <p:sldIdLst>
    <p:sldId id="305" r:id="rId2"/>
    <p:sldId id="306" r:id="rId3"/>
    <p:sldId id="314" r:id="rId4"/>
    <p:sldId id="315" r:id="rId5"/>
    <p:sldId id="260" r:id="rId6"/>
    <p:sldId id="261" r:id="rId7"/>
    <p:sldId id="262" r:id="rId8"/>
    <p:sldId id="263" r:id="rId9"/>
    <p:sldId id="266" r:id="rId10"/>
    <p:sldId id="267" r:id="rId11"/>
    <p:sldId id="268" r:id="rId12"/>
    <p:sldId id="269" r:id="rId13"/>
    <p:sldId id="270" r:id="rId14"/>
    <p:sldId id="271" r:id="rId15"/>
    <p:sldId id="272" r:id="rId16"/>
    <p:sldId id="273" r:id="rId17"/>
    <p:sldId id="274" r:id="rId18"/>
    <p:sldId id="275" r:id="rId19"/>
    <p:sldId id="276" r:id="rId20"/>
    <p:sldId id="277" r:id="rId21"/>
    <p:sldId id="278" r:id="rId22"/>
    <p:sldId id="280" r:id="rId23"/>
    <p:sldId id="281" r:id="rId24"/>
    <p:sldId id="282" r:id="rId25"/>
    <p:sldId id="308" r:id="rId26"/>
    <p:sldId id="283" r:id="rId27"/>
    <p:sldId id="312" r:id="rId28"/>
    <p:sldId id="285" r:id="rId29"/>
    <p:sldId id="286" r:id="rId30"/>
    <p:sldId id="287" r:id="rId31"/>
    <p:sldId id="288" r:id="rId32"/>
    <p:sldId id="289" r:id="rId33"/>
    <p:sldId id="309" r:id="rId34"/>
    <p:sldId id="290" r:id="rId35"/>
    <p:sldId id="310" r:id="rId36"/>
    <p:sldId id="291" r:id="rId37"/>
    <p:sldId id="292" r:id="rId38"/>
    <p:sldId id="293" r:id="rId39"/>
    <p:sldId id="294" r:id="rId40"/>
    <p:sldId id="295" r:id="rId41"/>
    <p:sldId id="296" r:id="rId42"/>
    <p:sldId id="297" r:id="rId43"/>
    <p:sldId id="311" r:id="rId44"/>
    <p:sldId id="298" r:id="rId45"/>
    <p:sldId id="299" r:id="rId46"/>
    <p:sldId id="301" r:id="rId47"/>
    <p:sldId id="303" r:id="rId48"/>
    <p:sldId id="304" r:id="rId49"/>
  </p:sldIdLst>
  <p:sldSz cx="9144000" cy="6858000" type="screen4x3"/>
  <p:notesSz cx="9144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80" d="100"/>
          <a:sy n="80" d="100"/>
        </p:scale>
        <p:origin x="-1445" y="-77"/>
      </p:cViewPr>
      <p:guideLst>
        <p:guide orient="horz" pos="2880"/>
        <p:guide pos="2160"/>
      </p:guideLst>
    </p:cSldViewPr>
  </p:slideViewPr>
  <p:notesTextViewPr>
    <p:cViewPr>
      <p:scale>
        <a:sx n="100" d="100"/>
        <a:sy n="100" d="100"/>
      </p:scale>
      <p:origin x="0" y="0"/>
    </p:cViewPr>
  </p:notesText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DDBAE841-E95E-4491-A3CC-1EA1920ACBB1}" type="datetimeFigureOut">
              <a:rPr lang="en-US" smtClean="0"/>
              <a:pPr/>
              <a:t>8/25/2017</a:t>
            </a:fld>
            <a:endParaRPr lang="en-US"/>
          </a:p>
        </p:txBody>
      </p:sp>
      <p:sp>
        <p:nvSpPr>
          <p:cNvPr id="4" name="Slide Image Placeholder 3"/>
          <p:cNvSpPr>
            <a:spLocks noGrp="1" noRot="1" noChangeAspect="1"/>
          </p:cNvSpPr>
          <p:nvPr>
            <p:ph type="sldImg" idx="2"/>
          </p:nvPr>
        </p:nvSpPr>
        <p:spPr>
          <a:xfrm>
            <a:off x="3028950" y="857250"/>
            <a:ext cx="30861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428A392D-626D-4298-ACB8-A9C53A13E7C0}" type="slidenum">
              <a:rPr lang="en-US" smtClean="0"/>
              <a:pPr/>
              <a:t>‹#›</a:t>
            </a:fld>
            <a:endParaRPr lang="en-US"/>
          </a:p>
        </p:txBody>
      </p:sp>
    </p:spTree>
    <p:extLst>
      <p:ext uri="{BB962C8B-B14F-4D97-AF65-F5344CB8AC3E}">
        <p14:creationId xmlns:p14="http://schemas.microsoft.com/office/powerpoint/2010/main" xmlns="" val="28532408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46435"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Tree>
    <p:extLst>
      <p:ext uri="{BB962C8B-B14F-4D97-AF65-F5344CB8AC3E}">
        <p14:creationId xmlns:p14="http://schemas.microsoft.com/office/powerpoint/2010/main" xmlns="" val="42037877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47459"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147460" name="Text Box 9"/>
          <p:cNvSpPr txBox="1">
            <a:spLocks noChangeArrowheads="1"/>
          </p:cNvSpPr>
          <p:nvPr/>
        </p:nvSpPr>
        <p:spPr bwMode="auto">
          <a:xfrm>
            <a:off x="142875" y="1133475"/>
            <a:ext cx="1600200"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50000"/>
              </a:spcBef>
            </a:pPr>
            <a:r>
              <a:rPr lang="en-US" altLang="en-US" sz="1000"/>
              <a:t>Add instructor notes here. </a:t>
            </a:r>
          </a:p>
        </p:txBody>
      </p:sp>
    </p:spTree>
    <p:extLst>
      <p:ext uri="{BB962C8B-B14F-4D97-AF65-F5344CB8AC3E}">
        <p14:creationId xmlns:p14="http://schemas.microsoft.com/office/powerpoint/2010/main" xmlns="" val="41601471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47459"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147460" name="Text Box 9"/>
          <p:cNvSpPr txBox="1">
            <a:spLocks noChangeArrowheads="1"/>
          </p:cNvSpPr>
          <p:nvPr/>
        </p:nvSpPr>
        <p:spPr bwMode="auto">
          <a:xfrm>
            <a:off x="142875" y="1133475"/>
            <a:ext cx="1600200"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50000"/>
              </a:spcBef>
            </a:pPr>
            <a:r>
              <a:rPr lang="en-US" altLang="en-US" sz="1000">
                <a:solidFill>
                  <a:prstClr val="black"/>
                </a:solidFill>
              </a:rPr>
              <a:t>Add instructor notes here. </a:t>
            </a:r>
          </a:p>
        </p:txBody>
      </p:sp>
    </p:spTree>
    <p:extLst>
      <p:ext uri="{BB962C8B-B14F-4D97-AF65-F5344CB8AC3E}">
        <p14:creationId xmlns:p14="http://schemas.microsoft.com/office/powerpoint/2010/main" xmlns="" val="32970853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47459"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147460" name="Text Box 9"/>
          <p:cNvSpPr txBox="1">
            <a:spLocks noChangeArrowheads="1"/>
          </p:cNvSpPr>
          <p:nvPr/>
        </p:nvSpPr>
        <p:spPr bwMode="auto">
          <a:xfrm>
            <a:off x="142875" y="1133475"/>
            <a:ext cx="1600200"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50000"/>
              </a:spcBef>
            </a:pPr>
            <a:r>
              <a:rPr lang="en-US" altLang="en-US" sz="1000">
                <a:solidFill>
                  <a:prstClr val="black"/>
                </a:solidFill>
              </a:rPr>
              <a:t>Add instructor notes here. </a:t>
            </a:r>
          </a:p>
        </p:txBody>
      </p:sp>
    </p:spTree>
    <p:extLst>
      <p:ext uri="{BB962C8B-B14F-4D97-AF65-F5344CB8AC3E}">
        <p14:creationId xmlns:p14="http://schemas.microsoft.com/office/powerpoint/2010/main" xmlns="" val="7691838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vmlDrawing" Target="../drawings/vmlDrawing1.v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4" Type="http://schemas.openxmlformats.org/officeDocument/2006/relationships/tags" Target="../tags/tag5.xml"/><Relationship Id="rId9" Type="http://schemas.openxmlformats.org/officeDocument/2006/relationships/image" Target="../media/image4.jpeg"/></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8/25/2017</a:t>
            </a:fld>
            <a:endParaRPr lang="en-US"/>
          </a:p>
        </p:txBody>
      </p:sp>
      <p:sp>
        <p:nvSpPr>
          <p:cNvPr id="6" name="Holder 6"/>
          <p:cNvSpPr>
            <a:spLocks noGrp="1"/>
          </p:cNvSpPr>
          <p:nvPr>
            <p:ph type="sldNum" sz="quarter" idx="7"/>
          </p:nvPr>
        </p:nvSpPr>
        <p:spPr/>
        <p:txBody>
          <a:bodyPr lIns="0" tIns="0" rIns="0" bIns="0"/>
          <a:lstStyle>
            <a:lvl1pPr>
              <a:defRPr sz="1000" b="0" i="0">
                <a:solidFill>
                  <a:schemeClr val="tx1"/>
                </a:solidFill>
                <a:latin typeface="Arial"/>
                <a:cs typeface="Arial"/>
              </a:defRPr>
            </a:lvl1p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a:t>
            </a:fld>
            <a:endParaRPr sz="1200">
              <a:latin typeface="Symbol"/>
              <a:cs typeface="Symbo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152400" y="152400"/>
            <a:ext cx="9144000" cy="492443"/>
          </a:xfrm>
        </p:spPr>
        <p:txBody>
          <a:bodyPr lIns="0" tIns="0" rIns="0" bIns="0"/>
          <a:lstStyle>
            <a:lvl1pPr marL="69850" algn="l" defTabSz="912813" rtl="0" eaLnBrk="1" fontAlgn="base" latinLnBrk="0" hangingPunct="1">
              <a:spcBef>
                <a:spcPct val="0"/>
              </a:spcBef>
              <a:spcAft>
                <a:spcPct val="0"/>
              </a:spcAft>
              <a:defRPr sz="3200" b="1" kern="1200" dirty="0">
                <a:solidFill>
                  <a:schemeClr val="tx1"/>
                </a:solidFill>
                <a:latin typeface="Arial"/>
                <a:ea typeface="+mj-ea"/>
                <a:cs typeface="Arial"/>
              </a:defRPr>
            </a:lvl1pPr>
          </a:lstStyle>
          <a:p>
            <a:endParaRPr dirty="0"/>
          </a:p>
        </p:txBody>
      </p:sp>
      <p:sp>
        <p:nvSpPr>
          <p:cNvPr id="3" name="Holder 3"/>
          <p:cNvSpPr>
            <a:spLocks noGrp="1"/>
          </p:cNvSpPr>
          <p:nvPr>
            <p:ph type="body" idx="1"/>
          </p:nvPr>
        </p:nvSpPr>
        <p:spPr/>
        <p:txBody>
          <a:bodyPr lIns="0" tIns="0" rIns="0" bIns="0"/>
          <a:lstStyle>
            <a:lvl1pPr>
              <a:defRPr sz="2400" b="1" i="0">
                <a:solidFill>
                  <a:schemeClr val="tx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8/25/2017</a:t>
            </a:fld>
            <a:endParaRPr lang="en-US"/>
          </a:p>
        </p:txBody>
      </p:sp>
      <p:sp>
        <p:nvSpPr>
          <p:cNvPr id="6" name="Holder 6"/>
          <p:cNvSpPr>
            <a:spLocks noGrp="1"/>
          </p:cNvSpPr>
          <p:nvPr>
            <p:ph type="sldNum" sz="quarter" idx="7"/>
          </p:nvPr>
        </p:nvSpPr>
        <p:spPr/>
        <p:txBody>
          <a:bodyPr lIns="0" tIns="0" rIns="0" bIns="0"/>
          <a:lstStyle>
            <a:lvl1pPr>
              <a:defRPr sz="1000" b="0" i="0">
                <a:solidFill>
                  <a:schemeClr val="tx1"/>
                </a:solidFill>
                <a:latin typeface="Arial"/>
                <a:cs typeface="Arial"/>
              </a:defRPr>
            </a:lvl1p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a:t>
            </a:fld>
            <a:endParaRPr sz="1200">
              <a:latin typeface="Symbol"/>
              <a:cs typeface="Symbol"/>
            </a:endParaRPr>
          </a:p>
        </p:txBody>
      </p:sp>
      <p:cxnSp>
        <p:nvCxnSpPr>
          <p:cNvPr id="7" name="Straight Connector 5"/>
          <p:cNvCxnSpPr/>
          <p:nvPr userDrawn="1">
            <p:custDataLst>
              <p:tags r:id="rId1"/>
            </p:custDataLst>
          </p:nvPr>
        </p:nvCxnSpPr>
        <p:spPr>
          <a:xfrm flipH="1">
            <a:off x="0" y="62484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400" b="1" i="0">
                <a:solidFill>
                  <a:schemeClr val="tx1"/>
                </a:solidFill>
                <a:latin typeface="Arial"/>
                <a:cs typeface="Arial"/>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8/25/2017</a:t>
            </a:fld>
            <a:endParaRPr lang="en-US"/>
          </a:p>
        </p:txBody>
      </p:sp>
      <p:sp>
        <p:nvSpPr>
          <p:cNvPr id="7" name="Holder 7"/>
          <p:cNvSpPr>
            <a:spLocks noGrp="1"/>
          </p:cNvSpPr>
          <p:nvPr>
            <p:ph type="sldNum" sz="quarter" idx="7"/>
          </p:nvPr>
        </p:nvSpPr>
        <p:spPr/>
        <p:txBody>
          <a:bodyPr lIns="0" tIns="0" rIns="0" bIns="0"/>
          <a:lstStyle>
            <a:lvl1pPr>
              <a:defRPr sz="1000" b="0" i="0">
                <a:solidFill>
                  <a:schemeClr val="tx1"/>
                </a:solidFill>
                <a:latin typeface="Arial"/>
                <a:cs typeface="Arial"/>
              </a:defRPr>
            </a:lvl1p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a:t>
            </a:fld>
            <a:endParaRPr sz="1200">
              <a:latin typeface="Symbol"/>
              <a:cs typeface="Symbo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400" b="1" i="0">
                <a:solidFill>
                  <a:schemeClr val="tx1"/>
                </a:solidFill>
                <a:latin typeface="Arial"/>
                <a:cs typeface="Arial"/>
              </a:defRPr>
            </a:lvl1pPr>
          </a:lstStyle>
          <a:p>
            <a:endParaRPr dirty="0"/>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8/25/2017</a:t>
            </a:fld>
            <a:endParaRPr lang="en-US"/>
          </a:p>
        </p:txBody>
      </p:sp>
      <p:sp>
        <p:nvSpPr>
          <p:cNvPr id="5" name="Holder 5"/>
          <p:cNvSpPr>
            <a:spLocks noGrp="1"/>
          </p:cNvSpPr>
          <p:nvPr>
            <p:ph type="sldNum" sz="quarter" idx="7"/>
          </p:nvPr>
        </p:nvSpPr>
        <p:spPr/>
        <p:txBody>
          <a:bodyPr lIns="0" tIns="0" rIns="0" bIns="0"/>
          <a:lstStyle>
            <a:lvl1pPr>
              <a:defRPr sz="1000" b="0" i="0">
                <a:solidFill>
                  <a:schemeClr val="tx1"/>
                </a:solidFill>
                <a:latin typeface="Arial"/>
                <a:cs typeface="Arial"/>
              </a:defRPr>
            </a:lvl1p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a:t>
            </a:fld>
            <a:endParaRPr sz="1200">
              <a:latin typeface="Symbol"/>
              <a:cs typeface="Symbo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8/25/2017</a:t>
            </a:fld>
            <a:endParaRPr lang="en-US"/>
          </a:p>
        </p:txBody>
      </p:sp>
      <p:sp>
        <p:nvSpPr>
          <p:cNvPr id="4" name="Holder 4"/>
          <p:cNvSpPr>
            <a:spLocks noGrp="1"/>
          </p:cNvSpPr>
          <p:nvPr>
            <p:ph type="sldNum" sz="quarter" idx="7"/>
          </p:nvPr>
        </p:nvSpPr>
        <p:spPr/>
        <p:txBody>
          <a:bodyPr lIns="0" tIns="0" rIns="0" bIns="0"/>
          <a:lstStyle>
            <a:lvl1pPr>
              <a:defRPr sz="1000" b="0" i="0">
                <a:solidFill>
                  <a:schemeClr val="tx1"/>
                </a:solidFill>
                <a:latin typeface="Arial"/>
                <a:cs typeface="Arial"/>
              </a:defRPr>
            </a:lvl1p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a:t>
            </a:fld>
            <a:endParaRPr sz="1200">
              <a:latin typeface="Symbol"/>
              <a:cs typeface="Symbo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graphicFrame>
        <p:nvGraphicFramePr>
          <p:cNvPr id="4" name="Object 11"/>
          <p:cNvGraphicFramePr>
            <a:graphicFrameLocks noChangeAspect="1"/>
          </p:cNvGraphicFramePr>
          <p:nvPr/>
        </p:nvGraphicFramePr>
        <p:xfrm>
          <a:off x="0" y="0"/>
          <a:ext cx="146050" cy="158750"/>
        </p:xfrm>
        <a:graphic>
          <a:graphicData uri="http://schemas.openxmlformats.org/presentationml/2006/ole">
            <p:oleObj spid="_x0000_s1040" name="think-cell Slide" r:id="rId3" imgW="360" imgH="360" progId="">
              <p:embed/>
            </p:oleObj>
          </a:graphicData>
        </a:graphic>
      </p:graphicFrame>
      <p:sp>
        <p:nvSpPr>
          <p:cNvPr id="2" name="Title 1"/>
          <p:cNvSpPr>
            <a:spLocks noGrp="1"/>
          </p:cNvSpPr>
          <p:nvPr>
            <p:ph type="ctrTitle"/>
          </p:nvPr>
        </p:nvSpPr>
        <p:spPr>
          <a:xfrm>
            <a:off x="0" y="2959926"/>
            <a:ext cx="5035137" cy="1098157"/>
          </a:xfrm>
        </p:spPr>
        <p:txBody>
          <a:bodyPr lIns="720000" rIns="33059" anchor="t"/>
          <a:lstStyle>
            <a:lvl1pPr marL="0" indent="0" algn="l">
              <a:defRPr sz="3700" b="1">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xmlns="" val="2342480592"/>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LessonObjectives">
    <p:spTree>
      <p:nvGrpSpPr>
        <p:cNvPr id="1" name=""/>
        <p:cNvGrpSpPr/>
        <p:nvPr/>
      </p:nvGrpSpPr>
      <p:grpSpPr>
        <a:xfrm>
          <a:off x="0" y="0"/>
          <a:ext cx="0" cy="0"/>
          <a:chOff x="0" y="0"/>
          <a:chExt cx="0" cy="0"/>
        </a:xfrm>
      </p:grpSpPr>
      <p:graphicFrame>
        <p:nvGraphicFramePr>
          <p:cNvPr id="5" name="Object 11"/>
          <p:cNvGraphicFramePr>
            <a:graphicFrameLocks noChangeAspect="1"/>
          </p:cNvGraphicFramePr>
          <p:nvPr/>
        </p:nvGraphicFramePr>
        <p:xfrm>
          <a:off x="0" y="0"/>
          <a:ext cx="146050" cy="158750"/>
        </p:xfrm>
        <a:graphic>
          <a:graphicData uri="http://schemas.openxmlformats.org/presentationml/2006/ole">
            <p:oleObj spid="_x0000_s2064" name="think-cell Slide" r:id="rId7" imgW="360" imgH="360" progId="">
              <p:embed/>
            </p:oleObj>
          </a:graphicData>
        </a:graphic>
      </p:graphicFrame>
      <p:sp>
        <p:nvSpPr>
          <p:cNvPr id="6" name="TextBox 5"/>
          <p:cNvSpPr txBox="1"/>
          <p:nvPr>
            <p:custDataLst>
              <p:tags r:id="rId2"/>
            </p:custDataLst>
          </p:nvPr>
        </p:nvSpPr>
        <p:spPr>
          <a:xfrm>
            <a:off x="8826500" y="6661150"/>
            <a:ext cx="111125" cy="107950"/>
          </a:xfrm>
          <a:prstGeom prst="rect">
            <a:avLst/>
          </a:prstGeom>
          <a:noFill/>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09C0B63B-17DD-461A-AE29-91E2C235C7A3}" type="slidenum">
              <a:rPr lang="en-US" altLang="en-US" sz="700">
                <a:solidFill>
                  <a:schemeClr val="tx2"/>
                </a:solidFill>
              </a:rPr>
              <a:pPr algn="ctr" eaLnBrk="1" hangingPunct="1"/>
              <a:t>‹#›</a:t>
            </a:fld>
            <a:endParaRPr lang="en-US" altLang="en-US" sz="700">
              <a:solidFill>
                <a:schemeClr val="tx2"/>
              </a:solidFill>
            </a:endParaRPr>
          </a:p>
        </p:txBody>
      </p:sp>
      <p:sp>
        <p:nvSpPr>
          <p:cNvPr id="7" name="Freeform 4"/>
          <p:cNvSpPr>
            <a:spLocks/>
          </p:cNvSpPr>
          <p:nvPr>
            <p:custDataLst>
              <p:tags r:id="rId3"/>
            </p:custDataLst>
          </p:nvPr>
        </p:nvSpPr>
        <p:spPr bwMode="auto">
          <a:xfrm>
            <a:off x="0" y="676275"/>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fontAlgn="auto">
              <a:spcBef>
                <a:spcPts val="0"/>
              </a:spcBef>
              <a:spcAft>
                <a:spcPts val="0"/>
              </a:spcAft>
              <a:defRPr/>
            </a:pPr>
            <a:endParaRPr lang="fr-FR">
              <a:latin typeface="+mn-lt"/>
              <a:cs typeface="+mn-cs"/>
            </a:endParaRPr>
          </a:p>
        </p:txBody>
      </p:sp>
      <p:sp>
        <p:nvSpPr>
          <p:cNvPr id="8" name="Rectangle 7"/>
          <p:cNvSpPr>
            <a:spLocks noChangeArrowheads="1"/>
          </p:cNvSpPr>
          <p:nvPr>
            <p:custDataLst>
              <p:tags r:id="rId4"/>
            </p:custDataLst>
          </p:nvPr>
        </p:nvSpPr>
        <p:spPr bwMode="auto">
          <a:xfrm>
            <a:off x="6223000" y="6623050"/>
            <a:ext cx="2455863"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cxnSp>
        <p:nvCxnSpPr>
          <p:cNvPr id="9" name="Straight Connector 5"/>
          <p:cNvCxnSpPr/>
          <p:nvPr>
            <p:custDataLst>
              <p:tags r:id="rId5"/>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 name="Image 13" descr="Capgemini_logo.jpg"/>
          <p:cNvPicPr>
            <a:picLocks noChangeAspect="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269875" y="6438900"/>
            <a:ext cx="1438275" cy="344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 name="Picture 9"/>
          <p:cNvPicPr>
            <a:picLocks noChangeAspect="1"/>
          </p:cNvPicPr>
          <p:nvPr userDrawn="1"/>
        </p:nvPicPr>
        <p:blipFill>
          <a:blip r:embed="rId9" cstate="print">
            <a:extLst>
              <a:ext uri="{28A0092B-C50C-407E-A947-70E740481C1C}">
                <a14:useLocalDpi xmlns:a14="http://schemas.microsoft.com/office/drawing/2010/main" xmlns="" val="0"/>
              </a:ext>
            </a:extLst>
          </a:blip>
          <a:srcRect/>
          <a:stretch>
            <a:fillRect/>
          </a:stretch>
        </p:blipFill>
        <p:spPr bwMode="auto">
          <a:xfrm>
            <a:off x="7092950" y="1828800"/>
            <a:ext cx="2001838" cy="2011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4" name="Content Placeholder 2"/>
          <p:cNvSpPr>
            <a:spLocks noGrp="1"/>
          </p:cNvSpPr>
          <p:nvPr>
            <p:ph idx="1"/>
          </p:nvPr>
        </p:nvSpPr>
        <p:spPr>
          <a:xfrm>
            <a:off x="298516" y="1494766"/>
            <a:ext cx="679376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xmlns="" val="18351589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bk object 17"/>
          <p:cNvSpPr/>
          <p:nvPr/>
        </p:nvSpPr>
        <p:spPr>
          <a:xfrm>
            <a:off x="7162800" y="6324600"/>
            <a:ext cx="1697101" cy="381000"/>
          </a:xfrm>
          <a:prstGeom prst="rect">
            <a:avLst/>
          </a:prstGeom>
          <a:blipFill>
            <a:blip r:embed="rId10" cstate="print"/>
            <a:stretch>
              <a:fillRect/>
            </a:stretch>
          </a:blipFill>
        </p:spPr>
        <p:txBody>
          <a:bodyPr wrap="square" lIns="0" tIns="0" rIns="0" bIns="0" rtlCol="0"/>
          <a:lstStyle/>
          <a:p>
            <a:endParaRPr/>
          </a:p>
        </p:txBody>
      </p:sp>
      <p:sp>
        <p:nvSpPr>
          <p:cNvPr id="2" name="Holder 2"/>
          <p:cNvSpPr>
            <a:spLocks noGrp="1"/>
          </p:cNvSpPr>
          <p:nvPr>
            <p:ph type="title"/>
          </p:nvPr>
        </p:nvSpPr>
        <p:spPr>
          <a:xfrm>
            <a:off x="0" y="18321"/>
            <a:ext cx="9144000" cy="677108"/>
          </a:xfrm>
          <a:prstGeom prst="rect">
            <a:avLst/>
          </a:prstGeom>
        </p:spPr>
        <p:txBody>
          <a:bodyPr wrap="square" lIns="0" tIns="0" rIns="0" bIns="0">
            <a:spAutoFit/>
          </a:bodyPr>
          <a:lstStyle>
            <a:lvl1pPr>
              <a:defRPr sz="4400" b="1" i="0">
                <a:solidFill>
                  <a:schemeClr val="tx1"/>
                </a:solidFill>
                <a:latin typeface="Arial"/>
                <a:cs typeface="Arial"/>
              </a:defRPr>
            </a:lvl1pPr>
          </a:lstStyle>
          <a:p>
            <a:endParaRPr dirty="0"/>
          </a:p>
        </p:txBody>
      </p:sp>
      <p:sp>
        <p:nvSpPr>
          <p:cNvPr id="3" name="Holder 3"/>
          <p:cNvSpPr>
            <a:spLocks noGrp="1"/>
          </p:cNvSpPr>
          <p:nvPr>
            <p:ph type="body" idx="1"/>
          </p:nvPr>
        </p:nvSpPr>
        <p:spPr>
          <a:xfrm>
            <a:off x="368300" y="1480058"/>
            <a:ext cx="7950834" cy="369332"/>
          </a:xfrm>
          <a:prstGeom prst="rect">
            <a:avLst/>
          </a:prstGeom>
        </p:spPr>
        <p:txBody>
          <a:bodyPr wrap="square" lIns="0" tIns="0" rIns="0" bIns="0">
            <a:spAutoFit/>
          </a:bodyPr>
          <a:lstStyle>
            <a:lvl1pPr>
              <a:defRPr sz="2400" b="1" i="0">
                <a:solidFill>
                  <a:schemeClr val="tx1"/>
                </a:solidFill>
                <a:latin typeface="Arial"/>
                <a:cs typeface="Arial"/>
              </a:defRPr>
            </a:lvl1pPr>
          </a:lstStyle>
          <a:p>
            <a:endParaRPr dirty="0"/>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pPr/>
              <a:t>8/25/2017</a:t>
            </a:fld>
            <a:endParaRPr lang="en-US"/>
          </a:p>
        </p:txBody>
      </p:sp>
      <p:sp>
        <p:nvSpPr>
          <p:cNvPr id="6" name="Holder 6"/>
          <p:cNvSpPr>
            <a:spLocks noGrp="1"/>
          </p:cNvSpPr>
          <p:nvPr>
            <p:ph type="sldNum" sz="quarter" idx="7"/>
          </p:nvPr>
        </p:nvSpPr>
        <p:spPr>
          <a:xfrm>
            <a:off x="617626" y="6680304"/>
            <a:ext cx="1524635" cy="177800"/>
          </a:xfrm>
          <a:prstGeom prst="rect">
            <a:avLst/>
          </a:prstGeom>
        </p:spPr>
        <p:txBody>
          <a:bodyPr wrap="square" lIns="0" tIns="0" rIns="0" bIns="0">
            <a:spAutoFit/>
          </a:bodyPr>
          <a:lstStyle>
            <a:lvl1pPr>
              <a:defRPr sz="1000" b="0" i="0">
                <a:solidFill>
                  <a:schemeClr val="tx1"/>
                </a:solidFill>
                <a:latin typeface="Arial"/>
                <a:cs typeface="Arial"/>
              </a:defRPr>
            </a:lvl1p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a:t>
            </a:fld>
            <a:endParaRPr sz="1200">
              <a:latin typeface="Symbol"/>
              <a:cs typeface="Symbol"/>
            </a:endParaRPr>
          </a:p>
        </p:txBody>
      </p:sp>
      <p:sp>
        <p:nvSpPr>
          <p:cNvPr id="9" name="Freeform 4"/>
          <p:cNvSpPr>
            <a:spLocks/>
          </p:cNvSpPr>
          <p:nvPr userDrawn="1">
            <p:custDataLst>
              <p:tags r:id="rId9"/>
            </p:custDataLst>
          </p:nvPr>
        </p:nvSpPr>
        <p:spPr bwMode="auto">
          <a:xfrm>
            <a:off x="0" y="676275"/>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fontAlgn="auto">
              <a:spcBef>
                <a:spcPts val="0"/>
              </a:spcBef>
              <a:spcAft>
                <a:spcPts val="0"/>
              </a:spcAft>
              <a:defRPr/>
            </a:pPr>
            <a:endParaRPr lang="fr-FR">
              <a:latin typeface="+mn-lt"/>
              <a:cs typeface="+mn-cs"/>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txStyles>
    <p:titleStyle>
      <a:lvl1pPr algn="l">
        <a:defRPr sz="3200" i="1" baseline="0">
          <a:latin typeface="Arial" panose="020B0604020202020204" pitchFamily="34" charset="0"/>
          <a:ea typeface="+mj-ea"/>
          <a:cs typeface="Arial" panose="020B0604020202020204" pitchFamily="34" charset="0"/>
        </a:defRPr>
      </a:lvl1pPr>
    </p:titleStyle>
    <p:bodyStyle>
      <a:lvl1pPr marL="342900" indent="-342900">
        <a:buClr>
          <a:srgbClr val="00B0F0"/>
        </a:buClr>
        <a:buFont typeface="Wingdings" panose="05000000000000000000" pitchFamily="2" charset="2"/>
        <a:buChar char="§"/>
        <a:defRPr sz="2200">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1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hemeOverride" Target="../theme/themeOverride3.xml"/><Relationship Id="rId5" Type="http://schemas.openxmlformats.org/officeDocument/2006/relationships/image" Target="../media/image30.png"/><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image" Target="../media/image40.png"/></Relationships>
</file>

<file path=ppt/slides/_rels/slide22.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image" Target="../media/image45.png"/><Relationship Id="rId1" Type="http://schemas.openxmlformats.org/officeDocument/2006/relationships/slideLayout" Target="../slideLayouts/slideLayout2.xml"/><Relationship Id="rId6" Type="http://schemas.openxmlformats.org/officeDocument/2006/relationships/image" Target="../media/image49.png"/><Relationship Id="rId5" Type="http://schemas.openxmlformats.org/officeDocument/2006/relationships/image" Target="../media/image48.png"/><Relationship Id="rId10" Type="http://schemas.openxmlformats.org/officeDocument/2006/relationships/image" Target="../media/image52.png"/><Relationship Id="rId4" Type="http://schemas.openxmlformats.org/officeDocument/2006/relationships/image" Target="../media/image47.png"/><Relationship Id="rId9" Type="http://schemas.openxmlformats.org/officeDocument/2006/relationships/image" Target="../media/image23.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53.png"/></Relationships>
</file>

<file path=ppt/slides/_rels/slide29.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image" Target="../media/image54.png"/><Relationship Id="rId1" Type="http://schemas.openxmlformats.org/officeDocument/2006/relationships/slideLayout" Target="../slideLayouts/slideLayout2.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61.png"/></Relationships>
</file>

<file path=ppt/slides/_rels/slide31.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Layout" Target="../slideLayouts/slideLayout2.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 Id="rId9" Type="http://schemas.openxmlformats.org/officeDocument/2006/relationships/image" Target="../media/image69.png"/></Relationships>
</file>

<file path=ppt/slides/_rels/slide3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image" Target="../media/image75.png"/></Relationships>
</file>

<file path=ppt/slides/_rels/slide3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1.png"/><Relationship Id="rId1" Type="http://schemas.openxmlformats.org/officeDocument/2006/relationships/slideLayout" Target="../slideLayouts/slideLayout2.xml"/><Relationship Id="rId4" Type="http://schemas.openxmlformats.org/officeDocument/2006/relationships/image" Target="../media/image77.png"/></Relationships>
</file>

<file path=ppt/slides/_rels/slide3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39.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image" Target="../media/image79.png"/><Relationship Id="rId1" Type="http://schemas.openxmlformats.org/officeDocument/2006/relationships/slideLayout" Target="../slideLayouts/slideLayout2.xml"/><Relationship Id="rId6" Type="http://schemas.openxmlformats.org/officeDocument/2006/relationships/image" Target="../media/image80.png"/><Relationship Id="rId5" Type="http://schemas.openxmlformats.org/officeDocument/2006/relationships/image" Target="../media/image65.png"/><Relationship Id="rId4" Type="http://schemas.openxmlformats.org/officeDocument/2006/relationships/image" Target="../media/image6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3.png"/><Relationship Id="rId7" Type="http://schemas.openxmlformats.org/officeDocument/2006/relationships/image" Target="../media/image86.png"/><Relationship Id="rId2" Type="http://schemas.openxmlformats.org/officeDocument/2006/relationships/image" Target="../media/image82.png"/><Relationship Id="rId1" Type="http://schemas.openxmlformats.org/officeDocument/2006/relationships/slideLayout" Target="../slideLayouts/slideLayout2.xml"/><Relationship Id="rId6" Type="http://schemas.openxmlformats.org/officeDocument/2006/relationships/image" Target="../media/image85.png"/><Relationship Id="rId5" Type="http://schemas.openxmlformats.org/officeDocument/2006/relationships/image" Target="../media/image58.png"/><Relationship Id="rId4" Type="http://schemas.openxmlformats.org/officeDocument/2006/relationships/image" Target="../media/image84.png"/><Relationship Id="rId9" Type="http://schemas.openxmlformats.org/officeDocument/2006/relationships/image" Target="../media/image79.png"/></Relationships>
</file>

<file path=ppt/slides/_rels/slide4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55.png"/><Relationship Id="rId7" Type="http://schemas.openxmlformats.org/officeDocument/2006/relationships/image" Target="../media/image67.png"/><Relationship Id="rId2" Type="http://schemas.openxmlformats.org/officeDocument/2006/relationships/image" Target="../media/image5.png"/><Relationship Id="rId1" Type="http://schemas.openxmlformats.org/officeDocument/2006/relationships/slideLayout" Target="../slideLayouts/slideLayout2.xml"/><Relationship Id="rId6" Type="http://schemas.openxmlformats.org/officeDocument/2006/relationships/image" Target="../media/image80.png"/><Relationship Id="rId5" Type="http://schemas.openxmlformats.org/officeDocument/2006/relationships/image" Target="../media/image57.png"/><Relationship Id="rId4" Type="http://schemas.openxmlformats.org/officeDocument/2006/relationships/image" Target="../media/image56.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4.xml"/></Relationships>
</file>

<file path=ppt/slides/_rels/slide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18" Type="http://schemas.openxmlformats.org/officeDocument/2006/relationships/image" Target="../media/image5.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17" Type="http://schemas.openxmlformats.org/officeDocument/2006/relationships/image" Target="../media/image21.png"/><Relationship Id="rId2" Type="http://schemas.openxmlformats.org/officeDocument/2006/relationships/slideLayout" Target="../slideLayouts/slideLayout2.xml"/><Relationship Id="rId16" Type="http://schemas.openxmlformats.org/officeDocument/2006/relationships/image" Target="../media/image20.png"/><Relationship Id="rId1" Type="http://schemas.openxmlformats.org/officeDocument/2006/relationships/themeOverride" Target="../theme/themeOverride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5" Type="http://schemas.openxmlformats.org/officeDocument/2006/relationships/image" Target="../media/image1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xml"/></Relationships>
</file>

<file path=ppt/slides/_rels/slide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0"/>
          <p:cNvSpPr>
            <a:spLocks noGrp="1"/>
          </p:cNvSpPr>
          <p:nvPr>
            <p:ph type="ctrTitle"/>
          </p:nvPr>
        </p:nvSpPr>
        <p:spPr>
          <a:xfrm>
            <a:off x="1219200" y="2895600"/>
            <a:ext cx="5035550" cy="1107996"/>
          </a:xfrm>
        </p:spPr>
        <p:txBody>
          <a:bodyPr/>
          <a:lstStyle/>
          <a:p>
            <a:pPr eaLnBrk="1" hangingPunct="1"/>
            <a:r>
              <a:rPr lang="en-US" altLang="en-US" sz="3600" dirty="0" smtClean="0"/>
              <a:t>SD Organization Structure</a:t>
            </a:r>
          </a:p>
        </p:txBody>
      </p:sp>
      <p:sp>
        <p:nvSpPr>
          <p:cNvPr id="3" name="Freeform 4"/>
          <p:cNvSpPr>
            <a:spLocks/>
          </p:cNvSpPr>
          <p:nvPr>
            <p:custDataLst>
              <p:tags r:id="rId1"/>
            </p:custDataLst>
          </p:nvPr>
        </p:nvSpPr>
        <p:spPr bwMode="auto">
          <a:xfrm>
            <a:off x="0" y="533400"/>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fontAlgn="auto">
              <a:spcBef>
                <a:spcPts val="0"/>
              </a:spcBef>
              <a:spcAft>
                <a:spcPts val="0"/>
              </a:spcAft>
              <a:defRPr/>
            </a:pPr>
            <a:endParaRPr lang="fr-FR">
              <a:latin typeface="+mn-lt"/>
              <a:cs typeface="+mn-cs"/>
            </a:endParaRPr>
          </a:p>
        </p:txBody>
      </p:sp>
    </p:spTree>
    <p:extLst>
      <p:ext uri="{BB962C8B-B14F-4D97-AF65-F5344CB8AC3E}">
        <p14:creationId xmlns:p14="http://schemas.microsoft.com/office/powerpoint/2010/main" xmlns="" val="664745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52400" y="228600"/>
            <a:ext cx="1579880" cy="492443"/>
          </a:xfrm>
          <a:prstGeom prst="rect">
            <a:avLst/>
          </a:prstGeom>
        </p:spPr>
        <p:txBody>
          <a:bodyPr vert="horz" wrap="square" lIns="0" tIns="0" rIns="0" bIns="0" rtlCol="0">
            <a:spAutoFit/>
          </a:bodyPr>
          <a:lstStyle/>
          <a:p>
            <a:r>
              <a:rPr dirty="0"/>
              <a:t>Client</a:t>
            </a:r>
          </a:p>
        </p:txBody>
      </p:sp>
      <p:sp>
        <p:nvSpPr>
          <p:cNvPr id="3" name="object 3"/>
          <p:cNvSpPr txBox="1"/>
          <p:nvPr/>
        </p:nvSpPr>
        <p:spPr>
          <a:xfrm>
            <a:off x="617626" y="3200400"/>
            <a:ext cx="7577455" cy="2862322"/>
          </a:xfrm>
          <a:prstGeom prst="rect">
            <a:avLst/>
          </a:prstGeom>
        </p:spPr>
        <p:txBody>
          <a:bodyPr vert="horz" wrap="square" lIns="0" tIns="0" rIns="0" bIns="0" rtlCol="0">
            <a:spAutoFit/>
          </a:bodyPr>
          <a:lstStyle/>
          <a:p>
            <a:pPr marL="298450" indent="-285750">
              <a:lnSpc>
                <a:spcPct val="100000"/>
              </a:lnSpc>
              <a:buClr>
                <a:srgbClr val="00B0F0"/>
              </a:buClr>
              <a:buFont typeface="Wingdings" panose="05000000000000000000" pitchFamily="2" charset="2"/>
              <a:buChar char="§"/>
            </a:pPr>
            <a:r>
              <a:rPr lang="en-US" sz="2200" dirty="0">
                <a:latin typeface="Arial"/>
                <a:cs typeface="Arial"/>
              </a:rPr>
              <a:t>H</a:t>
            </a:r>
            <a:r>
              <a:rPr sz="2200" dirty="0" smtClean="0">
                <a:latin typeface="Arial"/>
                <a:cs typeface="Arial"/>
              </a:rPr>
              <a:t>ighest </a:t>
            </a:r>
            <a:r>
              <a:rPr sz="2200" spc="-10" dirty="0">
                <a:latin typeface="Arial"/>
                <a:cs typeface="Arial"/>
              </a:rPr>
              <a:t>level </a:t>
            </a:r>
            <a:r>
              <a:rPr sz="2200" dirty="0">
                <a:latin typeface="Arial"/>
                <a:cs typeface="Arial"/>
              </a:rPr>
              <a:t>of </a:t>
            </a:r>
            <a:r>
              <a:rPr sz="2200" spc="-5" dirty="0">
                <a:latin typeface="Arial"/>
                <a:cs typeface="Arial"/>
              </a:rPr>
              <a:t>Organizational </a:t>
            </a:r>
            <a:r>
              <a:rPr sz="2200" dirty="0">
                <a:latin typeface="Arial"/>
                <a:cs typeface="Arial"/>
              </a:rPr>
              <a:t>unit, </a:t>
            </a:r>
            <a:r>
              <a:rPr sz="2200" spc="10" dirty="0">
                <a:latin typeface="Arial"/>
                <a:cs typeface="Arial"/>
              </a:rPr>
              <a:t>with </a:t>
            </a:r>
            <a:r>
              <a:rPr sz="2200" dirty="0">
                <a:latin typeface="Arial"/>
                <a:cs typeface="Arial"/>
              </a:rPr>
              <a:t>its </a:t>
            </a:r>
            <a:r>
              <a:rPr sz="2200" spc="10" dirty="0">
                <a:latin typeface="Arial"/>
                <a:cs typeface="Arial"/>
              </a:rPr>
              <a:t>own </a:t>
            </a:r>
            <a:r>
              <a:rPr sz="2200" spc="-5" dirty="0">
                <a:latin typeface="Arial"/>
                <a:cs typeface="Arial"/>
              </a:rPr>
              <a:t>data,</a:t>
            </a:r>
            <a:r>
              <a:rPr sz="2200" spc="-100" dirty="0">
                <a:latin typeface="Arial"/>
                <a:cs typeface="Arial"/>
              </a:rPr>
              <a:t> </a:t>
            </a:r>
            <a:r>
              <a:rPr sz="2200" spc="-10" dirty="0" smtClean="0">
                <a:latin typeface="Arial"/>
                <a:cs typeface="Arial"/>
              </a:rPr>
              <a:t>master</a:t>
            </a:r>
            <a:r>
              <a:rPr lang="en-US" sz="2200" spc="-10" dirty="0" smtClean="0">
                <a:latin typeface="Arial"/>
                <a:cs typeface="Arial"/>
              </a:rPr>
              <a:t> </a:t>
            </a:r>
            <a:r>
              <a:rPr sz="2200" spc="-5" dirty="0" smtClean="0">
                <a:latin typeface="Arial"/>
                <a:cs typeface="Arial"/>
              </a:rPr>
              <a:t>records </a:t>
            </a:r>
            <a:r>
              <a:rPr sz="2200" dirty="0">
                <a:latin typeface="Arial"/>
                <a:cs typeface="Arial"/>
              </a:rPr>
              <a:t>and </a:t>
            </a:r>
            <a:r>
              <a:rPr sz="2200" spc="-5" dirty="0">
                <a:latin typeface="Arial"/>
                <a:cs typeface="Arial"/>
              </a:rPr>
              <a:t>set </a:t>
            </a:r>
            <a:r>
              <a:rPr sz="2200" dirty="0">
                <a:latin typeface="Arial"/>
                <a:cs typeface="Arial"/>
              </a:rPr>
              <a:t>of </a:t>
            </a:r>
            <a:r>
              <a:rPr sz="2200" spc="-5" dirty="0" smtClean="0">
                <a:latin typeface="Arial"/>
                <a:cs typeface="Arial"/>
              </a:rPr>
              <a:t>tables.  </a:t>
            </a:r>
            <a:endParaRPr lang="en-US" sz="2200" spc="-5" dirty="0" smtClean="0">
              <a:latin typeface="Arial"/>
              <a:cs typeface="Arial"/>
            </a:endParaRPr>
          </a:p>
          <a:p>
            <a:pPr marL="298450" indent="-285750">
              <a:lnSpc>
                <a:spcPct val="100000"/>
              </a:lnSpc>
              <a:buClr>
                <a:srgbClr val="00B0F0"/>
              </a:buClr>
              <a:buFont typeface="Wingdings" panose="05000000000000000000" pitchFamily="2" charset="2"/>
              <a:buChar char="§"/>
            </a:pPr>
            <a:r>
              <a:rPr sz="2200" spc="-5" dirty="0" smtClean="0">
                <a:latin typeface="Arial"/>
                <a:cs typeface="Arial"/>
              </a:rPr>
              <a:t>Examples </a:t>
            </a:r>
            <a:r>
              <a:rPr sz="2200" dirty="0">
                <a:latin typeface="Arial"/>
                <a:cs typeface="Arial"/>
              </a:rPr>
              <a:t>for </a:t>
            </a:r>
            <a:r>
              <a:rPr sz="2200" spc="-5" dirty="0">
                <a:latin typeface="Arial"/>
                <a:cs typeface="Arial"/>
              </a:rPr>
              <a:t>Client specific</a:t>
            </a:r>
            <a:r>
              <a:rPr sz="2200" spc="-10" dirty="0">
                <a:latin typeface="Arial"/>
                <a:cs typeface="Arial"/>
              </a:rPr>
              <a:t> </a:t>
            </a:r>
            <a:r>
              <a:rPr sz="2200" spc="-5" dirty="0">
                <a:latin typeface="Arial"/>
                <a:cs typeface="Arial"/>
              </a:rPr>
              <a:t>data:</a:t>
            </a:r>
            <a:endParaRPr sz="2200" dirty="0">
              <a:latin typeface="Arial"/>
              <a:cs typeface="Arial"/>
            </a:endParaRPr>
          </a:p>
          <a:p>
            <a:pPr marL="755650" lvl="1" indent="-285750">
              <a:buClr>
                <a:srgbClr val="C00000"/>
              </a:buClr>
              <a:buFont typeface="Wingdings" panose="05000000000000000000" pitchFamily="2" charset="2"/>
              <a:buChar char="§"/>
            </a:pPr>
            <a:r>
              <a:rPr spc="-5" dirty="0">
                <a:latin typeface="Arial"/>
                <a:cs typeface="Arial"/>
              </a:rPr>
              <a:t>User Master data: Authorization </a:t>
            </a:r>
            <a:r>
              <a:rPr dirty="0">
                <a:latin typeface="Arial"/>
                <a:cs typeface="Arial"/>
              </a:rPr>
              <a:t>and </a:t>
            </a:r>
            <a:r>
              <a:rPr spc="-10" dirty="0">
                <a:latin typeface="Arial"/>
                <a:cs typeface="Arial"/>
              </a:rPr>
              <a:t>User</a:t>
            </a:r>
            <a:r>
              <a:rPr spc="-20" dirty="0">
                <a:latin typeface="Arial"/>
                <a:cs typeface="Arial"/>
              </a:rPr>
              <a:t> </a:t>
            </a:r>
            <a:r>
              <a:rPr dirty="0">
                <a:latin typeface="Arial"/>
                <a:cs typeface="Arial"/>
              </a:rPr>
              <a:t>Groups</a:t>
            </a:r>
          </a:p>
          <a:p>
            <a:pPr marL="755650" lvl="1" indent="-285750">
              <a:buClr>
                <a:srgbClr val="C00000"/>
              </a:buClr>
              <a:buFont typeface="Wingdings" panose="05000000000000000000" pitchFamily="2" charset="2"/>
              <a:buChar char="§"/>
            </a:pPr>
            <a:r>
              <a:rPr spc="-5" dirty="0">
                <a:latin typeface="Arial"/>
                <a:cs typeface="Arial"/>
              </a:rPr>
              <a:t>Application data: Business transaction </a:t>
            </a:r>
            <a:r>
              <a:rPr dirty="0">
                <a:latin typeface="Arial"/>
                <a:cs typeface="Arial"/>
              </a:rPr>
              <a:t>data and </a:t>
            </a:r>
            <a:r>
              <a:rPr spc="-5" dirty="0">
                <a:latin typeface="Arial"/>
                <a:cs typeface="Arial"/>
              </a:rPr>
              <a:t>Material Master</a:t>
            </a:r>
            <a:r>
              <a:rPr spc="100" dirty="0">
                <a:latin typeface="Arial"/>
                <a:cs typeface="Arial"/>
              </a:rPr>
              <a:t> </a:t>
            </a:r>
            <a:r>
              <a:rPr spc="-5" dirty="0" smtClean="0">
                <a:latin typeface="Arial"/>
                <a:cs typeface="Arial"/>
              </a:rPr>
              <a:t>data</a:t>
            </a:r>
            <a:endParaRPr dirty="0">
              <a:latin typeface="Arial"/>
              <a:cs typeface="Arial"/>
            </a:endParaRPr>
          </a:p>
          <a:p>
            <a:pPr marL="342900" indent="-342900">
              <a:lnSpc>
                <a:spcPct val="100000"/>
              </a:lnSpc>
              <a:spcBef>
                <a:spcPts val="35"/>
              </a:spcBef>
              <a:buClr>
                <a:srgbClr val="00B0F0"/>
              </a:buClr>
              <a:buFont typeface="Wingdings" panose="05000000000000000000" pitchFamily="2" charset="2"/>
              <a:buChar char="§"/>
            </a:pPr>
            <a:endParaRPr sz="2200" dirty="0">
              <a:latin typeface="Times New Roman"/>
              <a:cs typeface="Times New Roman"/>
            </a:endParaRPr>
          </a:p>
          <a:p>
            <a:pPr marL="298450" indent="-285750">
              <a:lnSpc>
                <a:spcPct val="100000"/>
              </a:lnSpc>
              <a:buClr>
                <a:srgbClr val="00B0F0"/>
              </a:buClr>
              <a:buFont typeface="Wingdings" panose="05000000000000000000" pitchFamily="2" charset="2"/>
              <a:buChar char="§"/>
            </a:pPr>
            <a:r>
              <a:rPr sz="2200" dirty="0">
                <a:latin typeface="Arial"/>
                <a:cs typeface="Arial"/>
              </a:rPr>
              <a:t>From the </a:t>
            </a:r>
            <a:r>
              <a:rPr sz="2200" spc="-5" dirty="0">
                <a:latin typeface="Arial"/>
                <a:cs typeface="Arial"/>
              </a:rPr>
              <a:t>business prospective </a:t>
            </a:r>
            <a:r>
              <a:rPr sz="2200" dirty="0">
                <a:latin typeface="Arial"/>
                <a:cs typeface="Arial"/>
              </a:rPr>
              <a:t>a client </a:t>
            </a:r>
            <a:r>
              <a:rPr sz="2200" spc="-5" dirty="0">
                <a:latin typeface="Arial"/>
                <a:cs typeface="Arial"/>
              </a:rPr>
              <a:t>forms </a:t>
            </a:r>
            <a:r>
              <a:rPr sz="2200" dirty="0">
                <a:latin typeface="Arial"/>
                <a:cs typeface="Arial"/>
              </a:rPr>
              <a:t>a </a:t>
            </a:r>
            <a:r>
              <a:rPr sz="2200" spc="-5" dirty="0">
                <a:latin typeface="Arial"/>
                <a:cs typeface="Arial"/>
              </a:rPr>
              <a:t>corporate </a:t>
            </a:r>
            <a:r>
              <a:rPr sz="2200" dirty="0" smtClean="0">
                <a:latin typeface="Arial"/>
                <a:cs typeface="Arial"/>
              </a:rPr>
              <a:t>group</a:t>
            </a:r>
            <a:endParaRPr sz="2200" dirty="0">
              <a:latin typeface="Arial"/>
              <a:cs typeface="Arial"/>
            </a:endParaRPr>
          </a:p>
        </p:txBody>
      </p:sp>
      <p:sp>
        <p:nvSpPr>
          <p:cNvPr id="6" name="object 6"/>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10</a:t>
            </a:fld>
            <a:endParaRPr sz="1200">
              <a:latin typeface="Symbol"/>
              <a:cs typeface="Symbol"/>
            </a:endParaRPr>
          </a:p>
        </p:txBody>
      </p:sp>
      <p:pic>
        <p:nvPicPr>
          <p:cNvPr id="7" name="Picture 6"/>
          <p:cNvPicPr>
            <a:picLocks noChangeAspect="1"/>
          </p:cNvPicPr>
          <p:nvPr/>
        </p:nvPicPr>
        <p:blipFill>
          <a:blip r:embed="rId2" cstate="print"/>
          <a:stretch>
            <a:fillRect/>
          </a:stretch>
        </p:blipFill>
        <p:spPr>
          <a:xfrm>
            <a:off x="3048000" y="1247171"/>
            <a:ext cx="2286000" cy="1940719"/>
          </a:xfrm>
          <a:prstGeom prst="rect">
            <a:avLst/>
          </a:prstGeom>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39700" y="162540"/>
            <a:ext cx="4124960" cy="492443"/>
          </a:xfrm>
          <a:prstGeom prst="rect">
            <a:avLst/>
          </a:prstGeom>
        </p:spPr>
        <p:txBody>
          <a:bodyPr vert="horz" wrap="square" lIns="0" tIns="0" rIns="0" bIns="0" rtlCol="0">
            <a:spAutoFit/>
          </a:bodyPr>
          <a:lstStyle/>
          <a:p>
            <a:pPr>
              <a:lnSpc>
                <a:spcPct val="100000"/>
              </a:lnSpc>
            </a:pPr>
            <a:r>
              <a:rPr dirty="0"/>
              <a:t>Company Code</a:t>
            </a:r>
          </a:p>
        </p:txBody>
      </p:sp>
      <p:sp>
        <p:nvSpPr>
          <p:cNvPr id="3" name="object 3"/>
          <p:cNvSpPr txBox="1"/>
          <p:nvPr/>
        </p:nvSpPr>
        <p:spPr>
          <a:xfrm>
            <a:off x="617626" y="3149725"/>
            <a:ext cx="8416290" cy="3046988"/>
          </a:xfrm>
          <a:prstGeom prst="rect">
            <a:avLst/>
          </a:prstGeom>
        </p:spPr>
        <p:txBody>
          <a:bodyPr vert="horz" wrap="square" lIns="0" tIns="0" rIns="0" bIns="0" rtlCol="0">
            <a:spAutoFit/>
          </a:bodyPr>
          <a:lstStyle/>
          <a:p>
            <a:pPr marL="355600" marR="902335" indent="-342900">
              <a:lnSpc>
                <a:spcPct val="100000"/>
              </a:lnSpc>
              <a:buClr>
                <a:srgbClr val="00B0F0"/>
              </a:buClr>
              <a:buFont typeface="Wingdings" panose="05000000000000000000" pitchFamily="2" charset="2"/>
              <a:buChar char="§"/>
            </a:pPr>
            <a:r>
              <a:rPr lang="en-US" sz="2200" spc="-5" dirty="0">
                <a:latin typeface="Arial"/>
                <a:cs typeface="Arial"/>
              </a:rPr>
              <a:t>R</a:t>
            </a:r>
            <a:r>
              <a:rPr sz="2200" spc="-5" dirty="0" smtClean="0">
                <a:latin typeface="Arial"/>
                <a:cs typeface="Arial"/>
              </a:rPr>
              <a:t>epresents </a:t>
            </a:r>
            <a:r>
              <a:rPr sz="2200" spc="-5" dirty="0">
                <a:latin typeface="Arial"/>
                <a:cs typeface="Arial"/>
              </a:rPr>
              <a:t>an </a:t>
            </a:r>
            <a:r>
              <a:rPr sz="2200" dirty="0">
                <a:latin typeface="Arial"/>
                <a:cs typeface="Arial"/>
              </a:rPr>
              <a:t>independent </a:t>
            </a:r>
            <a:r>
              <a:rPr sz="2200" spc="-5" dirty="0">
                <a:latin typeface="Arial"/>
                <a:cs typeface="Arial"/>
              </a:rPr>
              <a:t>legal </a:t>
            </a:r>
            <a:r>
              <a:rPr sz="2200" spc="-10" dirty="0">
                <a:latin typeface="Arial"/>
                <a:cs typeface="Arial"/>
              </a:rPr>
              <a:t>Accounting </a:t>
            </a:r>
            <a:r>
              <a:rPr sz="2200" spc="-25" dirty="0" smtClean="0">
                <a:latin typeface="Arial"/>
                <a:cs typeface="Arial"/>
              </a:rPr>
              <a:t>entity  </a:t>
            </a:r>
            <a:endParaRPr lang="en-US" sz="2200" spc="-25" dirty="0" smtClean="0">
              <a:latin typeface="Arial"/>
              <a:cs typeface="Arial"/>
            </a:endParaRPr>
          </a:p>
          <a:p>
            <a:pPr marL="355600" marR="902335" indent="-342900">
              <a:lnSpc>
                <a:spcPct val="100000"/>
              </a:lnSpc>
              <a:buClr>
                <a:srgbClr val="00B0F0"/>
              </a:buClr>
              <a:buFont typeface="Wingdings" panose="05000000000000000000" pitchFamily="2" charset="2"/>
              <a:buChar char="§"/>
            </a:pPr>
            <a:r>
              <a:rPr sz="2200" spc="-5" dirty="0" smtClean="0">
                <a:latin typeface="Arial"/>
                <a:cs typeface="Arial"/>
              </a:rPr>
              <a:t>Example: Company </a:t>
            </a:r>
            <a:r>
              <a:rPr sz="2200" spc="10" dirty="0" smtClean="0">
                <a:latin typeface="Arial"/>
                <a:cs typeface="Arial"/>
              </a:rPr>
              <a:t>with </a:t>
            </a:r>
            <a:r>
              <a:rPr sz="2200" spc="-5" dirty="0" smtClean="0">
                <a:latin typeface="Arial"/>
                <a:cs typeface="Arial"/>
              </a:rPr>
              <a:t>a corporate</a:t>
            </a:r>
            <a:r>
              <a:rPr sz="2200" spc="-60" dirty="0" smtClean="0">
                <a:latin typeface="Arial"/>
                <a:cs typeface="Arial"/>
              </a:rPr>
              <a:t> </a:t>
            </a:r>
            <a:r>
              <a:rPr sz="2200" dirty="0" smtClean="0">
                <a:latin typeface="Arial"/>
                <a:cs typeface="Arial"/>
              </a:rPr>
              <a:t>group</a:t>
            </a:r>
            <a:endParaRPr sz="2200" dirty="0">
              <a:latin typeface="Times New Roman"/>
              <a:cs typeface="Times New Roman"/>
            </a:endParaRPr>
          </a:p>
          <a:p>
            <a:pPr marL="355600" marR="151765" indent="-342900">
              <a:lnSpc>
                <a:spcPct val="100000"/>
              </a:lnSpc>
              <a:buClr>
                <a:srgbClr val="00B0F0"/>
              </a:buClr>
              <a:buFont typeface="Wingdings" panose="05000000000000000000" pitchFamily="2" charset="2"/>
              <a:buChar char="§"/>
            </a:pPr>
            <a:r>
              <a:rPr sz="2200" spc="-5" dirty="0">
                <a:latin typeface="Arial"/>
                <a:cs typeface="Arial"/>
              </a:rPr>
              <a:t>Balance sheet &amp; </a:t>
            </a:r>
            <a:r>
              <a:rPr sz="2200" dirty="0">
                <a:latin typeface="Arial"/>
                <a:cs typeface="Arial"/>
              </a:rPr>
              <a:t>Profit </a:t>
            </a:r>
            <a:r>
              <a:rPr sz="2200" spc="-5" dirty="0">
                <a:latin typeface="Arial"/>
                <a:cs typeface="Arial"/>
              </a:rPr>
              <a:t>&amp; </a:t>
            </a:r>
            <a:r>
              <a:rPr sz="2200" dirty="0">
                <a:latin typeface="Arial"/>
                <a:cs typeface="Arial"/>
              </a:rPr>
              <a:t>Loss </a:t>
            </a:r>
            <a:r>
              <a:rPr sz="2200" spc="-5" dirty="0">
                <a:latin typeface="Arial"/>
                <a:cs typeface="Arial"/>
              </a:rPr>
              <a:t>statements required by </a:t>
            </a:r>
            <a:r>
              <a:rPr sz="2200" spc="-10" dirty="0">
                <a:latin typeface="Arial"/>
                <a:cs typeface="Arial"/>
              </a:rPr>
              <a:t>law, </a:t>
            </a:r>
            <a:r>
              <a:rPr sz="2200" spc="-5" dirty="0">
                <a:latin typeface="Arial"/>
                <a:cs typeface="Arial"/>
              </a:rPr>
              <a:t>can be created at  </a:t>
            </a:r>
            <a:r>
              <a:rPr sz="2200" dirty="0">
                <a:latin typeface="Arial"/>
                <a:cs typeface="Arial"/>
              </a:rPr>
              <a:t>the </a:t>
            </a:r>
            <a:r>
              <a:rPr sz="2200" spc="-5" dirty="0">
                <a:latin typeface="Arial"/>
                <a:cs typeface="Arial"/>
              </a:rPr>
              <a:t>company code </a:t>
            </a:r>
            <a:r>
              <a:rPr sz="2200" spc="-10" dirty="0">
                <a:latin typeface="Arial"/>
                <a:cs typeface="Arial"/>
              </a:rPr>
              <a:t>level. </a:t>
            </a:r>
            <a:r>
              <a:rPr sz="2200" spc="-5" dirty="0">
                <a:latin typeface="Arial"/>
                <a:cs typeface="Arial"/>
              </a:rPr>
              <a:t>Therefore, </a:t>
            </a:r>
            <a:r>
              <a:rPr sz="2200" dirty="0">
                <a:latin typeface="Arial"/>
                <a:cs typeface="Arial"/>
              </a:rPr>
              <a:t>a </a:t>
            </a:r>
            <a:r>
              <a:rPr sz="2200" spc="-5" dirty="0">
                <a:latin typeface="Arial"/>
                <a:cs typeface="Arial"/>
              </a:rPr>
              <a:t>company code </a:t>
            </a:r>
            <a:r>
              <a:rPr sz="2200" dirty="0">
                <a:latin typeface="Arial"/>
                <a:cs typeface="Arial"/>
              </a:rPr>
              <a:t>is the minimum  </a:t>
            </a:r>
            <a:r>
              <a:rPr sz="2200" spc="-5" dirty="0">
                <a:latin typeface="Arial"/>
                <a:cs typeface="Arial"/>
              </a:rPr>
              <a:t>structure necessary </a:t>
            </a:r>
            <a:r>
              <a:rPr sz="2200" dirty="0">
                <a:latin typeface="Arial"/>
                <a:cs typeface="Arial"/>
              </a:rPr>
              <a:t>in </a:t>
            </a:r>
            <a:r>
              <a:rPr sz="2200" spc="-5" dirty="0">
                <a:latin typeface="Arial"/>
                <a:cs typeface="Arial"/>
              </a:rPr>
              <a:t>R/3</a:t>
            </a:r>
            <a:r>
              <a:rPr sz="2200" spc="-20" dirty="0">
                <a:latin typeface="Arial"/>
                <a:cs typeface="Arial"/>
              </a:rPr>
              <a:t> </a:t>
            </a:r>
            <a:r>
              <a:rPr sz="2200" dirty="0" smtClean="0">
                <a:latin typeface="Arial"/>
                <a:cs typeface="Arial"/>
              </a:rPr>
              <a:t>FI</a:t>
            </a:r>
            <a:endParaRPr sz="2200" dirty="0">
              <a:latin typeface="Times New Roman"/>
              <a:cs typeface="Times New Roman"/>
            </a:endParaRPr>
          </a:p>
          <a:p>
            <a:pPr marL="355600" marR="5080" indent="-342900">
              <a:lnSpc>
                <a:spcPct val="100000"/>
              </a:lnSpc>
              <a:buClr>
                <a:srgbClr val="00B0F0"/>
              </a:buClr>
              <a:buFont typeface="Wingdings" panose="05000000000000000000" pitchFamily="2" charset="2"/>
              <a:buChar char="§"/>
            </a:pPr>
            <a:r>
              <a:rPr sz="2200" dirty="0">
                <a:latin typeface="Arial"/>
                <a:cs typeface="Arial"/>
              </a:rPr>
              <a:t>In </a:t>
            </a:r>
            <a:r>
              <a:rPr sz="2200" spc="-5" dirty="0">
                <a:latin typeface="Arial"/>
                <a:cs typeface="Arial"/>
              </a:rPr>
              <a:t>an </a:t>
            </a:r>
            <a:r>
              <a:rPr sz="2200" dirty="0">
                <a:latin typeface="Arial"/>
                <a:cs typeface="Arial"/>
              </a:rPr>
              <a:t>international </a:t>
            </a:r>
            <a:r>
              <a:rPr sz="2200" spc="-5" dirty="0">
                <a:latin typeface="Arial"/>
                <a:cs typeface="Arial"/>
              </a:rPr>
              <a:t>business, operations are </a:t>
            </a:r>
            <a:r>
              <a:rPr sz="2200" dirty="0">
                <a:latin typeface="Arial"/>
                <a:cs typeface="Arial"/>
              </a:rPr>
              <a:t>often </a:t>
            </a:r>
            <a:r>
              <a:rPr sz="2200" spc="-5" dirty="0">
                <a:latin typeface="Arial"/>
                <a:cs typeface="Arial"/>
              </a:rPr>
              <a:t>scattered across </a:t>
            </a:r>
            <a:r>
              <a:rPr lang="en-US" sz="2200" spc="-5" dirty="0" smtClean="0">
                <a:latin typeface="Arial"/>
                <a:cs typeface="Arial"/>
              </a:rPr>
              <a:t>many </a:t>
            </a:r>
            <a:r>
              <a:rPr sz="2200" spc="-5" dirty="0" smtClean="0">
                <a:latin typeface="Arial"/>
                <a:cs typeface="Arial"/>
              </a:rPr>
              <a:t>countries</a:t>
            </a:r>
            <a:r>
              <a:rPr sz="2200" spc="-5" dirty="0">
                <a:latin typeface="Arial"/>
                <a:cs typeface="Arial"/>
              </a:rPr>
              <a:t>. </a:t>
            </a:r>
            <a:r>
              <a:rPr sz="2200" dirty="0">
                <a:latin typeface="Arial"/>
                <a:cs typeface="Arial"/>
              </a:rPr>
              <a:t>Since </a:t>
            </a:r>
            <a:r>
              <a:rPr sz="2200" spc="-5" dirty="0">
                <a:latin typeface="Arial"/>
                <a:cs typeface="Arial"/>
              </a:rPr>
              <a:t>most government &amp; tax </a:t>
            </a:r>
            <a:r>
              <a:rPr sz="2200" dirty="0">
                <a:latin typeface="Arial"/>
                <a:cs typeface="Arial"/>
              </a:rPr>
              <a:t>authorities </a:t>
            </a:r>
            <a:r>
              <a:rPr sz="2200" spc="-5" dirty="0">
                <a:latin typeface="Arial"/>
                <a:cs typeface="Arial"/>
              </a:rPr>
              <a:t>require </a:t>
            </a:r>
            <a:r>
              <a:rPr sz="2200" dirty="0">
                <a:latin typeface="Arial"/>
                <a:cs typeface="Arial"/>
              </a:rPr>
              <a:t>the </a:t>
            </a:r>
            <a:r>
              <a:rPr sz="2200" spc="-5" dirty="0">
                <a:latin typeface="Arial"/>
                <a:cs typeface="Arial"/>
              </a:rPr>
              <a:t>registration  </a:t>
            </a:r>
            <a:r>
              <a:rPr sz="2200" dirty="0">
                <a:latin typeface="Arial"/>
                <a:cs typeface="Arial"/>
              </a:rPr>
              <a:t>of </a:t>
            </a:r>
            <a:r>
              <a:rPr sz="2200" spc="-5" dirty="0">
                <a:latin typeface="Arial"/>
                <a:cs typeface="Arial"/>
              </a:rPr>
              <a:t>a legal </a:t>
            </a:r>
            <a:r>
              <a:rPr sz="2200" dirty="0">
                <a:latin typeface="Arial"/>
                <a:cs typeface="Arial"/>
              </a:rPr>
              <a:t>entity for </a:t>
            </a:r>
            <a:r>
              <a:rPr sz="2200" spc="-15" dirty="0">
                <a:latin typeface="Arial"/>
                <a:cs typeface="Arial"/>
              </a:rPr>
              <a:t>every </a:t>
            </a:r>
            <a:r>
              <a:rPr sz="2200" spc="-20" dirty="0">
                <a:latin typeface="Arial"/>
                <a:cs typeface="Arial"/>
              </a:rPr>
              <a:t>company, </a:t>
            </a:r>
            <a:r>
              <a:rPr sz="2200" spc="-5" dirty="0">
                <a:latin typeface="Arial"/>
                <a:cs typeface="Arial"/>
              </a:rPr>
              <a:t>a separate Company code is usually  established </a:t>
            </a:r>
            <a:r>
              <a:rPr sz="2200" dirty="0">
                <a:latin typeface="Arial"/>
                <a:cs typeface="Arial"/>
              </a:rPr>
              <a:t>per</a:t>
            </a:r>
            <a:r>
              <a:rPr sz="2200" spc="-70" dirty="0">
                <a:latin typeface="Arial"/>
                <a:cs typeface="Arial"/>
              </a:rPr>
              <a:t> </a:t>
            </a:r>
            <a:r>
              <a:rPr sz="2200" spc="-20" dirty="0" smtClean="0">
                <a:latin typeface="Arial"/>
                <a:cs typeface="Arial"/>
              </a:rPr>
              <a:t>country</a:t>
            </a:r>
            <a:endParaRPr sz="2200" dirty="0">
              <a:latin typeface="Arial"/>
              <a:cs typeface="Arial"/>
            </a:endParaRPr>
          </a:p>
        </p:txBody>
      </p:sp>
      <p:sp>
        <p:nvSpPr>
          <p:cNvPr id="8" name="object 8"/>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11</a:t>
            </a:fld>
            <a:endParaRPr sz="1200">
              <a:latin typeface="Symbol"/>
              <a:cs typeface="Symbol"/>
            </a:endParaRPr>
          </a:p>
        </p:txBody>
      </p:sp>
      <p:pic>
        <p:nvPicPr>
          <p:cNvPr id="9" name="Picture 8"/>
          <p:cNvPicPr>
            <a:picLocks noChangeAspect="1"/>
          </p:cNvPicPr>
          <p:nvPr/>
        </p:nvPicPr>
        <p:blipFill>
          <a:blip r:embed="rId2" cstate="print"/>
          <a:stretch>
            <a:fillRect/>
          </a:stretch>
        </p:blipFill>
        <p:spPr>
          <a:xfrm>
            <a:off x="3007360" y="1143000"/>
            <a:ext cx="2514600" cy="2006725"/>
          </a:xfrm>
          <a:prstGeom prst="rect">
            <a:avLst/>
          </a:prstGeom>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5039867" y="260604"/>
            <a:ext cx="886967"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prstGeom prst="rect">
            <a:avLst/>
          </a:prstGeom>
        </p:spPr>
        <p:txBody>
          <a:bodyPr vert="horz" wrap="square" lIns="0" tIns="0" rIns="0" bIns="0" rtlCol="0">
            <a:spAutoFit/>
          </a:bodyPr>
          <a:lstStyle/>
          <a:p>
            <a:r>
              <a:rPr dirty="0"/>
              <a:t>Sales Organization</a:t>
            </a:r>
          </a:p>
        </p:txBody>
      </p:sp>
      <p:sp>
        <p:nvSpPr>
          <p:cNvPr id="5" name="object 5"/>
          <p:cNvSpPr txBox="1"/>
          <p:nvPr/>
        </p:nvSpPr>
        <p:spPr>
          <a:xfrm>
            <a:off x="381000" y="4230901"/>
            <a:ext cx="8239125" cy="2031325"/>
          </a:xfrm>
          <a:prstGeom prst="rect">
            <a:avLst/>
          </a:prstGeom>
        </p:spPr>
        <p:txBody>
          <a:bodyPr vert="horz" wrap="square" lIns="0" tIns="0" rIns="0" bIns="0" rtlCol="0">
            <a:spAutoFit/>
          </a:bodyPr>
          <a:lstStyle/>
          <a:p>
            <a:pPr marL="355600" marR="5080" indent="-342900">
              <a:lnSpc>
                <a:spcPct val="100000"/>
              </a:lnSpc>
              <a:buClr>
                <a:srgbClr val="00B0F0"/>
              </a:buClr>
              <a:buFont typeface="Wingdings" panose="05000000000000000000" pitchFamily="2" charset="2"/>
              <a:buChar char="§"/>
            </a:pPr>
            <a:r>
              <a:rPr sz="2200" dirty="0">
                <a:latin typeface="Arial"/>
                <a:cs typeface="Arial"/>
              </a:rPr>
              <a:t>The sales organization is an organizational unit within logistics,</a:t>
            </a:r>
            <a:r>
              <a:rPr sz="2200" spc="-265" dirty="0">
                <a:latin typeface="Arial"/>
                <a:cs typeface="Arial"/>
              </a:rPr>
              <a:t> </a:t>
            </a:r>
            <a:r>
              <a:rPr sz="2200" dirty="0">
                <a:latin typeface="Arial"/>
                <a:cs typeface="Arial"/>
              </a:rPr>
              <a:t>that  structures the company according to its sales requirements. It is  responsible for the sale and distribution of goods and </a:t>
            </a:r>
            <a:r>
              <a:rPr sz="2200" spc="-5" dirty="0">
                <a:latin typeface="Arial"/>
                <a:cs typeface="Arial"/>
              </a:rPr>
              <a:t>services. </a:t>
            </a:r>
            <a:r>
              <a:rPr sz="2200" dirty="0">
                <a:latin typeface="Arial"/>
                <a:cs typeface="Arial"/>
              </a:rPr>
              <a:t>It  represents the selling unit as a </a:t>
            </a:r>
            <a:r>
              <a:rPr sz="2200" spc="-5" dirty="0">
                <a:latin typeface="Arial"/>
                <a:cs typeface="Arial"/>
              </a:rPr>
              <a:t>legal entity. </a:t>
            </a:r>
            <a:r>
              <a:rPr sz="2200" dirty="0">
                <a:latin typeface="Arial"/>
                <a:cs typeface="Arial"/>
              </a:rPr>
              <a:t>It is responsible for  product guarantees and other rights to</a:t>
            </a:r>
            <a:r>
              <a:rPr sz="2200" spc="-140" dirty="0">
                <a:latin typeface="Arial"/>
                <a:cs typeface="Arial"/>
              </a:rPr>
              <a:t> </a:t>
            </a:r>
            <a:r>
              <a:rPr sz="2200" dirty="0">
                <a:latin typeface="Arial"/>
                <a:cs typeface="Arial"/>
              </a:rPr>
              <a:t>recourse</a:t>
            </a:r>
          </a:p>
        </p:txBody>
      </p:sp>
      <p:sp>
        <p:nvSpPr>
          <p:cNvPr id="6" name="object 6"/>
          <p:cNvSpPr/>
          <p:nvPr/>
        </p:nvSpPr>
        <p:spPr>
          <a:xfrm>
            <a:off x="3048000" y="1949450"/>
            <a:ext cx="2057400" cy="2012950"/>
          </a:xfrm>
          <a:prstGeom prst="rect">
            <a:avLst/>
          </a:prstGeom>
          <a:blipFill>
            <a:blip r:embed="rId3" cstate="print"/>
            <a:stretch>
              <a:fillRect/>
            </a:stretch>
          </a:blipFill>
        </p:spPr>
        <p:txBody>
          <a:bodyPr wrap="square" lIns="0" tIns="0" rIns="0" bIns="0" rtlCol="0"/>
          <a:lstStyle/>
          <a:p>
            <a:endParaRPr/>
          </a:p>
        </p:txBody>
      </p:sp>
      <p:sp>
        <p:nvSpPr>
          <p:cNvPr id="7" name="object 7"/>
          <p:cNvSpPr/>
          <p:nvPr/>
        </p:nvSpPr>
        <p:spPr>
          <a:xfrm>
            <a:off x="4343400" y="1676400"/>
            <a:ext cx="1143000" cy="1143000"/>
          </a:xfrm>
          <a:prstGeom prst="rect">
            <a:avLst/>
          </a:prstGeom>
          <a:blipFill>
            <a:blip r:embed="rId4" cstate="print"/>
            <a:stretch>
              <a:fillRect/>
            </a:stretch>
          </a:blipFill>
        </p:spPr>
        <p:txBody>
          <a:bodyPr wrap="square" lIns="0" tIns="0" rIns="0" bIns="0" rtlCol="0"/>
          <a:lstStyle/>
          <a:p>
            <a:endParaRPr/>
          </a:p>
        </p:txBody>
      </p:sp>
      <p:sp>
        <p:nvSpPr>
          <p:cNvPr id="9" name="object 9"/>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12</a:t>
            </a:fld>
            <a:endParaRPr sz="1200">
              <a:latin typeface="Symbol"/>
              <a:cs typeface="Symbo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5969508" y="260604"/>
            <a:ext cx="886967"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prstGeom prst="rect">
            <a:avLst/>
          </a:prstGeom>
        </p:spPr>
        <p:txBody>
          <a:bodyPr vert="horz" wrap="square" lIns="0" tIns="0" rIns="0" bIns="0" rtlCol="0">
            <a:spAutoFit/>
          </a:bodyPr>
          <a:lstStyle/>
          <a:p>
            <a:pPr>
              <a:lnSpc>
                <a:spcPct val="100000"/>
              </a:lnSpc>
            </a:pPr>
            <a:r>
              <a:rPr dirty="0"/>
              <a:t>Distributional Channel</a:t>
            </a:r>
          </a:p>
        </p:txBody>
      </p:sp>
      <p:sp>
        <p:nvSpPr>
          <p:cNvPr id="6" name="object 6"/>
          <p:cNvSpPr txBox="1"/>
          <p:nvPr/>
        </p:nvSpPr>
        <p:spPr>
          <a:xfrm>
            <a:off x="304800" y="1524000"/>
            <a:ext cx="8336915" cy="4739759"/>
          </a:xfrm>
          <a:prstGeom prst="rect">
            <a:avLst/>
          </a:prstGeom>
        </p:spPr>
        <p:txBody>
          <a:bodyPr vert="horz" wrap="square" lIns="0" tIns="0" rIns="0" bIns="0" rtlCol="0">
            <a:spAutoFit/>
          </a:bodyPr>
          <a:lstStyle/>
          <a:p>
            <a:pPr marL="355600" marR="184150" indent="-342900">
              <a:buClr>
                <a:srgbClr val="00B0F0"/>
              </a:buClr>
              <a:buFont typeface="Wingdings" panose="05000000000000000000" pitchFamily="2" charset="2"/>
              <a:buChar char="§"/>
              <a:tabLst>
                <a:tab pos="354965" algn="l"/>
                <a:tab pos="355600" algn="l"/>
              </a:tabLst>
            </a:pPr>
            <a:r>
              <a:rPr lang="en-US" sz="2200" spc="-5" dirty="0">
                <a:latin typeface="Arial"/>
                <a:cs typeface="Arial"/>
              </a:rPr>
              <a:t>R</a:t>
            </a:r>
            <a:r>
              <a:rPr sz="2200" spc="-5" dirty="0">
                <a:latin typeface="Arial"/>
                <a:cs typeface="Arial"/>
              </a:rPr>
              <a:t>epresents the channel through which sal</a:t>
            </a:r>
            <a:r>
              <a:rPr lang="en-US" sz="2200" spc="-5" dirty="0">
                <a:latin typeface="Arial"/>
                <a:cs typeface="Arial"/>
              </a:rPr>
              <a:t>e</a:t>
            </a:r>
            <a:r>
              <a:rPr sz="2200" spc="-5" dirty="0">
                <a:latin typeface="Arial"/>
                <a:cs typeface="Arial"/>
              </a:rPr>
              <a:t>able materials  or services reach customers</a:t>
            </a:r>
          </a:p>
          <a:p>
            <a:pPr marL="355600" indent="-342900">
              <a:buClr>
                <a:srgbClr val="00B0F0"/>
              </a:buClr>
              <a:buFont typeface="Wingdings" panose="05000000000000000000" pitchFamily="2" charset="2"/>
              <a:buChar char="§"/>
            </a:pPr>
            <a:endParaRPr sz="2200" spc="-5" dirty="0">
              <a:latin typeface="Arial"/>
              <a:cs typeface="Arial"/>
            </a:endParaRPr>
          </a:p>
          <a:p>
            <a:pPr marL="355600" marR="5080" indent="-342900">
              <a:buClr>
                <a:srgbClr val="00B0F0"/>
              </a:buClr>
              <a:buFont typeface="Wingdings" panose="05000000000000000000" pitchFamily="2" charset="2"/>
              <a:buChar char="§"/>
              <a:tabLst>
                <a:tab pos="354965" algn="l"/>
                <a:tab pos="355600" algn="l"/>
              </a:tabLst>
            </a:pPr>
            <a:r>
              <a:rPr sz="2200" spc="-5" dirty="0">
                <a:latin typeface="Arial"/>
                <a:cs typeface="Arial"/>
              </a:rPr>
              <a:t>Within a sales organization a customer can be supplied through several  distribution channels. In addition, the material master data relevant for sales, such  as prices, minimum order quantity, minimum quantity to be delivered and  delivering plant, can differ for each sales organization and distribution </a:t>
            </a:r>
            <a:r>
              <a:rPr sz="2200" spc="-5" dirty="0" smtClean="0">
                <a:latin typeface="Arial"/>
                <a:cs typeface="Arial"/>
              </a:rPr>
              <a:t>channel</a:t>
            </a:r>
            <a:endParaRPr sz="2200" spc="-5" dirty="0">
              <a:latin typeface="Arial"/>
              <a:cs typeface="Arial"/>
            </a:endParaRPr>
          </a:p>
          <a:p>
            <a:pPr marL="355600" indent="-342900">
              <a:spcBef>
                <a:spcPts val="35"/>
              </a:spcBef>
              <a:buClr>
                <a:srgbClr val="00B0F0"/>
              </a:buClr>
              <a:buFont typeface="Wingdings" panose="05000000000000000000" pitchFamily="2" charset="2"/>
              <a:buChar char="§"/>
            </a:pPr>
            <a:endParaRPr sz="2200" spc="-5" dirty="0">
              <a:latin typeface="Arial"/>
              <a:cs typeface="Arial"/>
            </a:endParaRPr>
          </a:p>
          <a:p>
            <a:pPr marL="355600" indent="-342900">
              <a:buClr>
                <a:srgbClr val="00B0F0"/>
              </a:buClr>
              <a:buFont typeface="Wingdings" panose="05000000000000000000" pitchFamily="2" charset="2"/>
              <a:buChar char="§"/>
              <a:tabLst>
                <a:tab pos="354965" algn="l"/>
                <a:tab pos="355600" algn="l"/>
              </a:tabLst>
            </a:pPr>
            <a:r>
              <a:rPr sz="2200" spc="-5" dirty="0">
                <a:latin typeface="Arial"/>
                <a:cs typeface="Arial"/>
              </a:rPr>
              <a:t>Typical distribution channels include wholesale, retail and direct sales</a:t>
            </a:r>
          </a:p>
          <a:p>
            <a:pPr marL="355600" indent="-342900">
              <a:spcBef>
                <a:spcPts val="20"/>
              </a:spcBef>
              <a:buClr>
                <a:srgbClr val="00B0F0"/>
              </a:buClr>
              <a:buFont typeface="Wingdings" panose="05000000000000000000" pitchFamily="2" charset="2"/>
              <a:buChar char="§"/>
            </a:pPr>
            <a:endParaRPr sz="2200" spc="-5" dirty="0">
              <a:latin typeface="Arial"/>
              <a:cs typeface="Arial"/>
            </a:endParaRPr>
          </a:p>
          <a:p>
            <a:pPr marL="355600" indent="-342900">
              <a:buClr>
                <a:srgbClr val="00B0F0"/>
              </a:buClr>
              <a:buFont typeface="Wingdings" panose="05000000000000000000" pitchFamily="2" charset="2"/>
              <a:buChar char="§"/>
              <a:tabLst>
                <a:tab pos="354965" algn="l"/>
                <a:tab pos="355600" algn="l"/>
              </a:tabLst>
            </a:pPr>
            <a:r>
              <a:rPr sz="2200" spc="-5" dirty="0">
                <a:latin typeface="Arial"/>
                <a:cs typeface="Arial"/>
              </a:rPr>
              <a:t>A single distribution channel can be assigned to one or more sales </a:t>
            </a:r>
            <a:r>
              <a:rPr sz="2200" spc="-5" dirty="0" smtClean="0">
                <a:latin typeface="Arial"/>
                <a:cs typeface="Arial"/>
              </a:rPr>
              <a:t>organizations</a:t>
            </a:r>
            <a:endParaRPr sz="2200" spc="-5" dirty="0">
              <a:latin typeface="Arial"/>
              <a:cs typeface="Arial"/>
            </a:endParaRPr>
          </a:p>
        </p:txBody>
      </p:sp>
      <p:sp>
        <p:nvSpPr>
          <p:cNvPr id="8" name="object 8"/>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13</a:t>
            </a:fld>
            <a:endParaRPr sz="1200">
              <a:latin typeface="Symbol"/>
              <a:cs typeface="Symbol"/>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object 3"/>
          <p:cNvSpPr/>
          <p:nvPr/>
        </p:nvSpPr>
        <p:spPr>
          <a:xfrm>
            <a:off x="2182367" y="260604"/>
            <a:ext cx="886968" cy="897636"/>
          </a:xfrm>
          <a:prstGeom prst="rect">
            <a:avLst/>
          </a:prstGeom>
          <a:blipFill>
            <a:blip r:embed="rId3" cstate="print"/>
            <a:stretch>
              <a:fillRect/>
            </a:stretch>
          </a:blipFill>
        </p:spPr>
        <p:txBody>
          <a:bodyPr wrap="square" lIns="0" tIns="0" rIns="0" bIns="0" rtlCol="0"/>
          <a:lstStyle/>
          <a:p>
            <a:endParaRPr/>
          </a:p>
        </p:txBody>
      </p:sp>
      <p:sp>
        <p:nvSpPr>
          <p:cNvPr id="4" name="object 4"/>
          <p:cNvSpPr txBox="1">
            <a:spLocks noGrp="1"/>
          </p:cNvSpPr>
          <p:nvPr>
            <p:ph type="title"/>
          </p:nvPr>
        </p:nvSpPr>
        <p:spPr>
          <a:prstGeom prst="rect">
            <a:avLst/>
          </a:prstGeom>
        </p:spPr>
        <p:txBody>
          <a:bodyPr vert="horz" wrap="square" lIns="0" tIns="0" rIns="0" bIns="0" rtlCol="0">
            <a:spAutoFit/>
          </a:bodyPr>
          <a:lstStyle/>
          <a:p>
            <a:r>
              <a:rPr dirty="0"/>
              <a:t>Division</a:t>
            </a:r>
          </a:p>
        </p:txBody>
      </p:sp>
      <p:sp>
        <p:nvSpPr>
          <p:cNvPr id="11" name="object 11"/>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14</a:t>
            </a:fld>
            <a:endParaRPr sz="1200">
              <a:latin typeface="Symbol"/>
              <a:cs typeface="Symbol"/>
            </a:endParaRPr>
          </a:p>
        </p:txBody>
      </p:sp>
      <p:sp>
        <p:nvSpPr>
          <p:cNvPr id="5" name="object 5"/>
          <p:cNvSpPr txBox="1"/>
          <p:nvPr/>
        </p:nvSpPr>
        <p:spPr>
          <a:xfrm>
            <a:off x="468428" y="4033719"/>
            <a:ext cx="8218371" cy="2099036"/>
          </a:xfrm>
          <a:prstGeom prst="rect">
            <a:avLst/>
          </a:prstGeom>
        </p:spPr>
        <p:txBody>
          <a:bodyPr vert="horz" wrap="square" lIns="0" tIns="0" rIns="0" bIns="0" rtlCol="0">
            <a:spAutoFit/>
          </a:bodyPr>
          <a:lstStyle/>
          <a:p>
            <a:pPr marL="355600" marR="5080" indent="-342900">
              <a:lnSpc>
                <a:spcPct val="80000"/>
              </a:lnSpc>
              <a:buClr>
                <a:srgbClr val="00B0F0"/>
              </a:buClr>
              <a:buFont typeface="Wingdings" panose="05000000000000000000" pitchFamily="2" charset="2"/>
              <a:buChar char="§"/>
              <a:tabLst>
                <a:tab pos="354965" algn="l"/>
                <a:tab pos="355600" algn="l"/>
              </a:tabLst>
            </a:pPr>
            <a:r>
              <a:rPr sz="2200" spc="-5" dirty="0">
                <a:latin typeface="Arial"/>
                <a:cs typeface="Arial"/>
              </a:rPr>
              <a:t>Division is a collection of Product groups. A material belongs to  exactly one division only</a:t>
            </a:r>
          </a:p>
          <a:p>
            <a:pPr marL="355600" indent="-342900">
              <a:lnSpc>
                <a:spcPct val="100000"/>
              </a:lnSpc>
              <a:spcBef>
                <a:spcPts val="30"/>
              </a:spcBef>
              <a:buClr>
                <a:srgbClr val="00B0F0"/>
              </a:buClr>
              <a:buFont typeface="Wingdings" panose="05000000000000000000" pitchFamily="2" charset="2"/>
              <a:buChar char="§"/>
            </a:pPr>
            <a:endParaRPr sz="2200" spc="-5" dirty="0">
              <a:latin typeface="Arial"/>
              <a:cs typeface="Arial"/>
            </a:endParaRPr>
          </a:p>
          <a:p>
            <a:pPr marL="355600" indent="-342900">
              <a:lnSpc>
                <a:spcPct val="100000"/>
              </a:lnSpc>
              <a:buClr>
                <a:srgbClr val="00B0F0"/>
              </a:buClr>
              <a:buFont typeface="Wingdings" panose="05000000000000000000" pitchFamily="2" charset="2"/>
              <a:buChar char="§"/>
              <a:tabLst>
                <a:tab pos="354965" algn="l"/>
                <a:tab pos="355600" algn="l"/>
              </a:tabLst>
            </a:pPr>
            <a:r>
              <a:rPr sz="2200" spc="-5" dirty="0">
                <a:latin typeface="Arial"/>
                <a:cs typeface="Arial"/>
              </a:rPr>
              <a:t>You can define sales offices for a division</a:t>
            </a:r>
          </a:p>
          <a:p>
            <a:pPr marL="355600" indent="-342900">
              <a:lnSpc>
                <a:spcPct val="100000"/>
              </a:lnSpc>
              <a:spcBef>
                <a:spcPts val="5"/>
              </a:spcBef>
              <a:buClr>
                <a:srgbClr val="00B0F0"/>
              </a:buClr>
              <a:buFont typeface="Wingdings" panose="05000000000000000000" pitchFamily="2" charset="2"/>
              <a:buChar char="§"/>
            </a:pPr>
            <a:endParaRPr sz="2200" spc="-5" dirty="0">
              <a:latin typeface="Arial"/>
              <a:cs typeface="Arial"/>
            </a:endParaRPr>
          </a:p>
          <a:p>
            <a:pPr marL="355600" marR="130175" indent="-342900">
              <a:lnSpc>
                <a:spcPct val="80000"/>
              </a:lnSpc>
              <a:buClr>
                <a:srgbClr val="00B0F0"/>
              </a:buClr>
              <a:buFont typeface="Wingdings" panose="05000000000000000000" pitchFamily="2" charset="2"/>
              <a:buChar char="§"/>
              <a:tabLst>
                <a:tab pos="354965" algn="l"/>
                <a:tab pos="355600" algn="l"/>
              </a:tabLst>
            </a:pPr>
            <a:r>
              <a:rPr sz="2200" spc="-5" dirty="0">
                <a:latin typeface="Arial"/>
                <a:cs typeface="Arial"/>
              </a:rPr>
              <a:t>You can define for each sales document type that all items of a  sales document must belong to the same division</a:t>
            </a:r>
          </a:p>
        </p:txBody>
      </p:sp>
      <p:sp>
        <p:nvSpPr>
          <p:cNvPr id="6" name="object 6"/>
          <p:cNvSpPr/>
          <p:nvPr/>
        </p:nvSpPr>
        <p:spPr>
          <a:xfrm>
            <a:off x="2344782" y="960005"/>
            <a:ext cx="3471545" cy="3055620"/>
          </a:xfrm>
          <a:custGeom>
            <a:avLst/>
            <a:gdLst/>
            <a:ahLst/>
            <a:cxnLst/>
            <a:rect l="l" t="t" r="r" b="b"/>
            <a:pathLst>
              <a:path w="3471545" h="3055620">
                <a:moveTo>
                  <a:pt x="2268768" y="0"/>
                </a:moveTo>
                <a:lnTo>
                  <a:pt x="0" y="796606"/>
                </a:lnTo>
                <a:lnTo>
                  <a:pt x="1464479" y="3055485"/>
                </a:lnTo>
                <a:lnTo>
                  <a:pt x="3471098" y="1616641"/>
                </a:lnTo>
                <a:lnTo>
                  <a:pt x="2268768" y="0"/>
                </a:lnTo>
                <a:close/>
              </a:path>
            </a:pathLst>
          </a:custGeom>
          <a:solidFill>
            <a:srgbClr val="DFDFAA"/>
          </a:solidFill>
        </p:spPr>
        <p:txBody>
          <a:bodyPr wrap="square" lIns="0" tIns="0" rIns="0" bIns="0" rtlCol="0"/>
          <a:lstStyle/>
          <a:p>
            <a:endParaRPr/>
          </a:p>
        </p:txBody>
      </p:sp>
      <p:sp>
        <p:nvSpPr>
          <p:cNvPr id="7" name="object 7"/>
          <p:cNvSpPr/>
          <p:nvPr/>
        </p:nvSpPr>
        <p:spPr>
          <a:xfrm>
            <a:off x="2717331" y="1153365"/>
            <a:ext cx="2826287" cy="2557867"/>
          </a:xfrm>
          <a:prstGeom prst="rect">
            <a:avLst/>
          </a:prstGeom>
          <a:blipFill>
            <a:blip r:embed="rId4" cstate="print"/>
            <a:stretch>
              <a:fillRect/>
            </a:stretch>
          </a:blipFill>
        </p:spPr>
        <p:txBody>
          <a:bodyPr wrap="square" lIns="0" tIns="0" rIns="0" bIns="0" rtlCol="0"/>
          <a:lstStyle/>
          <a:p>
            <a:endParaRPr/>
          </a:p>
        </p:txBody>
      </p:sp>
      <p:sp>
        <p:nvSpPr>
          <p:cNvPr id="8" name="object 8"/>
          <p:cNvSpPr/>
          <p:nvPr/>
        </p:nvSpPr>
        <p:spPr>
          <a:xfrm>
            <a:off x="3105277" y="1784977"/>
            <a:ext cx="2058035" cy="407670"/>
          </a:xfrm>
          <a:custGeom>
            <a:avLst/>
            <a:gdLst/>
            <a:ahLst/>
            <a:cxnLst/>
            <a:rect l="l" t="t" r="r" b="b"/>
            <a:pathLst>
              <a:path w="2058035" h="407669">
                <a:moveTo>
                  <a:pt x="1066838" y="116059"/>
                </a:moveTo>
                <a:lnTo>
                  <a:pt x="781070" y="116059"/>
                </a:lnTo>
                <a:lnTo>
                  <a:pt x="791336" y="273388"/>
                </a:lnTo>
                <a:lnTo>
                  <a:pt x="809336" y="407484"/>
                </a:lnTo>
                <a:lnTo>
                  <a:pt x="860712" y="147044"/>
                </a:lnTo>
                <a:lnTo>
                  <a:pt x="1066838" y="116059"/>
                </a:lnTo>
                <a:close/>
              </a:path>
              <a:path w="2058035" h="407669">
                <a:moveTo>
                  <a:pt x="2039613" y="51533"/>
                </a:moveTo>
                <a:lnTo>
                  <a:pt x="1983486" y="51533"/>
                </a:lnTo>
                <a:lnTo>
                  <a:pt x="2006662" y="376542"/>
                </a:lnTo>
                <a:lnTo>
                  <a:pt x="2057995" y="366213"/>
                </a:lnTo>
                <a:lnTo>
                  <a:pt x="2045216" y="183139"/>
                </a:lnTo>
                <a:lnTo>
                  <a:pt x="2039613" y="51533"/>
                </a:lnTo>
                <a:close/>
              </a:path>
              <a:path w="2058035" h="407669">
                <a:moveTo>
                  <a:pt x="1602713" y="85095"/>
                </a:moveTo>
                <a:lnTo>
                  <a:pt x="1407988" y="85095"/>
                </a:lnTo>
                <a:lnTo>
                  <a:pt x="1436146" y="265658"/>
                </a:lnTo>
                <a:lnTo>
                  <a:pt x="1474700" y="103283"/>
                </a:lnTo>
                <a:lnTo>
                  <a:pt x="1602713" y="85095"/>
                </a:lnTo>
                <a:close/>
              </a:path>
              <a:path w="2058035" h="407669">
                <a:moveTo>
                  <a:pt x="0" y="77517"/>
                </a:moveTo>
                <a:lnTo>
                  <a:pt x="0" y="141890"/>
                </a:lnTo>
                <a:lnTo>
                  <a:pt x="213261" y="141890"/>
                </a:lnTo>
                <a:lnTo>
                  <a:pt x="215817" y="211504"/>
                </a:lnTo>
                <a:lnTo>
                  <a:pt x="269771" y="214081"/>
                </a:lnTo>
                <a:lnTo>
                  <a:pt x="282637" y="149620"/>
                </a:lnTo>
                <a:lnTo>
                  <a:pt x="781070" y="116059"/>
                </a:lnTo>
                <a:lnTo>
                  <a:pt x="1066838" y="116059"/>
                </a:lnTo>
                <a:lnTo>
                  <a:pt x="1135617" y="105882"/>
                </a:lnTo>
                <a:lnTo>
                  <a:pt x="1373942" y="87693"/>
                </a:lnTo>
                <a:lnTo>
                  <a:pt x="202973" y="87693"/>
                </a:lnTo>
                <a:lnTo>
                  <a:pt x="0" y="77517"/>
                </a:lnTo>
                <a:close/>
              </a:path>
              <a:path w="2058035" h="407669">
                <a:moveTo>
                  <a:pt x="2037419" y="0"/>
                </a:moveTo>
                <a:lnTo>
                  <a:pt x="1759958" y="12991"/>
                </a:lnTo>
                <a:lnTo>
                  <a:pt x="1474700" y="36160"/>
                </a:lnTo>
                <a:lnTo>
                  <a:pt x="680872" y="79898"/>
                </a:lnTo>
                <a:lnTo>
                  <a:pt x="202973" y="87693"/>
                </a:lnTo>
                <a:lnTo>
                  <a:pt x="1373942" y="87693"/>
                </a:lnTo>
                <a:lnTo>
                  <a:pt x="1407988" y="85095"/>
                </a:lnTo>
                <a:lnTo>
                  <a:pt x="1602713" y="85095"/>
                </a:lnTo>
                <a:lnTo>
                  <a:pt x="1729201" y="67123"/>
                </a:lnTo>
                <a:lnTo>
                  <a:pt x="1983486" y="51533"/>
                </a:lnTo>
                <a:lnTo>
                  <a:pt x="2039613" y="51533"/>
                </a:lnTo>
                <a:lnTo>
                  <a:pt x="2037419" y="0"/>
                </a:lnTo>
                <a:close/>
              </a:path>
            </a:pathLst>
          </a:custGeom>
          <a:solidFill>
            <a:srgbClr val="000000"/>
          </a:solidFill>
        </p:spPr>
        <p:txBody>
          <a:bodyPr wrap="square" lIns="0" tIns="0" rIns="0" bIns="0" rtlCol="0"/>
          <a:lstStyle/>
          <a:p>
            <a:endParaRPr/>
          </a:p>
        </p:txBody>
      </p:sp>
      <p:sp>
        <p:nvSpPr>
          <p:cNvPr id="9" name="object 9"/>
          <p:cNvSpPr/>
          <p:nvPr/>
        </p:nvSpPr>
        <p:spPr>
          <a:xfrm>
            <a:off x="2701909" y="957407"/>
            <a:ext cx="2790158" cy="2668729"/>
          </a:xfrm>
          <a:prstGeom prst="rect">
            <a:avLst/>
          </a:prstGeom>
          <a:blipFill>
            <a:blip r:embed="rId5" cstate="print"/>
            <a:stretch>
              <a:fillRect/>
            </a:stretch>
          </a:blipFill>
        </p:spPr>
        <p:txBody>
          <a:bodyPr wrap="square" lIns="0" tIns="0" rIns="0" bIns="0" rtlCol="0"/>
          <a:lstStyle/>
          <a:p>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3206495" y="260604"/>
            <a:ext cx="886968"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prstGeom prst="rect">
            <a:avLst/>
          </a:prstGeom>
        </p:spPr>
        <p:txBody>
          <a:bodyPr vert="horz" wrap="square" lIns="0" tIns="0" rIns="0" bIns="0" rtlCol="0">
            <a:spAutoFit/>
          </a:bodyPr>
          <a:lstStyle/>
          <a:p>
            <a:pPr>
              <a:lnSpc>
                <a:spcPct val="100000"/>
              </a:lnSpc>
            </a:pPr>
            <a:r>
              <a:rPr dirty="0"/>
              <a:t>Sales Office</a:t>
            </a:r>
          </a:p>
        </p:txBody>
      </p:sp>
      <p:sp>
        <p:nvSpPr>
          <p:cNvPr id="5" name="object 5"/>
          <p:cNvSpPr/>
          <p:nvPr/>
        </p:nvSpPr>
        <p:spPr>
          <a:xfrm>
            <a:off x="3097167" y="1497681"/>
            <a:ext cx="2314575" cy="2169795"/>
          </a:xfrm>
          <a:custGeom>
            <a:avLst/>
            <a:gdLst/>
            <a:ahLst/>
            <a:cxnLst/>
            <a:rect l="l" t="t" r="r" b="b"/>
            <a:pathLst>
              <a:path w="2314575" h="2169795">
                <a:moveTo>
                  <a:pt x="0" y="0"/>
                </a:moveTo>
                <a:lnTo>
                  <a:pt x="136928" y="2125422"/>
                </a:lnTo>
                <a:lnTo>
                  <a:pt x="2275360" y="2169672"/>
                </a:lnTo>
                <a:lnTo>
                  <a:pt x="2314381" y="162311"/>
                </a:lnTo>
                <a:lnTo>
                  <a:pt x="0" y="0"/>
                </a:lnTo>
                <a:close/>
              </a:path>
            </a:pathLst>
          </a:custGeom>
          <a:solidFill>
            <a:srgbClr val="FFD177"/>
          </a:solidFill>
        </p:spPr>
        <p:txBody>
          <a:bodyPr wrap="square" lIns="0" tIns="0" rIns="0" bIns="0" rtlCol="0"/>
          <a:lstStyle/>
          <a:p>
            <a:endParaRPr/>
          </a:p>
        </p:txBody>
      </p:sp>
      <p:sp>
        <p:nvSpPr>
          <p:cNvPr id="6" name="object 6"/>
          <p:cNvSpPr/>
          <p:nvPr/>
        </p:nvSpPr>
        <p:spPr>
          <a:xfrm>
            <a:off x="3164285" y="1497681"/>
            <a:ext cx="2143764" cy="2632297"/>
          </a:xfrm>
          <a:prstGeom prst="rect">
            <a:avLst/>
          </a:prstGeom>
          <a:blipFill>
            <a:blip r:embed="rId3" cstate="print"/>
            <a:stretch>
              <a:fillRect/>
            </a:stretch>
          </a:blipFill>
        </p:spPr>
        <p:txBody>
          <a:bodyPr wrap="square" lIns="0" tIns="0" rIns="0" bIns="0" rtlCol="0"/>
          <a:lstStyle/>
          <a:p>
            <a:endParaRPr/>
          </a:p>
        </p:txBody>
      </p:sp>
      <p:sp>
        <p:nvSpPr>
          <p:cNvPr id="7" name="object 7"/>
          <p:cNvSpPr txBox="1"/>
          <p:nvPr/>
        </p:nvSpPr>
        <p:spPr>
          <a:xfrm>
            <a:off x="549846" y="4522589"/>
            <a:ext cx="7087234" cy="1692771"/>
          </a:xfrm>
          <a:prstGeom prst="rect">
            <a:avLst/>
          </a:prstGeom>
        </p:spPr>
        <p:txBody>
          <a:bodyPr vert="horz" wrap="square" lIns="0" tIns="0" rIns="0" bIns="0" rtlCol="0">
            <a:spAutoFit/>
          </a:bodyPr>
          <a:lstStyle/>
          <a:p>
            <a:pPr marL="355600" marR="5080" indent="-342900">
              <a:lnSpc>
                <a:spcPct val="100000"/>
              </a:lnSpc>
              <a:buClr>
                <a:srgbClr val="00B0F0"/>
              </a:buClr>
              <a:buFont typeface="Wingdings" panose="05000000000000000000" pitchFamily="2" charset="2"/>
              <a:buChar char="§"/>
            </a:pPr>
            <a:r>
              <a:rPr lang="en-US" sz="2200" spc="-5" dirty="0">
                <a:latin typeface="Arial"/>
                <a:cs typeface="Arial"/>
              </a:rPr>
              <a:t>D</a:t>
            </a:r>
            <a:r>
              <a:rPr sz="2200" spc="-5" dirty="0" smtClean="0">
                <a:latin typeface="Arial"/>
                <a:cs typeface="Arial"/>
              </a:rPr>
              <a:t>efines </a:t>
            </a:r>
            <a:r>
              <a:rPr sz="2200" spc="-5" dirty="0">
                <a:latin typeface="Arial"/>
                <a:cs typeface="Arial"/>
              </a:rPr>
              <a:t>Geographical aspects of the organization in  business development and sales</a:t>
            </a:r>
          </a:p>
          <a:p>
            <a:pPr marL="355600" indent="-342900">
              <a:lnSpc>
                <a:spcPct val="100000"/>
              </a:lnSpc>
              <a:spcBef>
                <a:spcPts val="30"/>
              </a:spcBef>
              <a:buClr>
                <a:srgbClr val="00B0F0"/>
              </a:buClr>
              <a:buFont typeface="Wingdings" panose="05000000000000000000" pitchFamily="2" charset="2"/>
              <a:buChar char="§"/>
            </a:pPr>
            <a:endParaRPr sz="2200" spc="-5" dirty="0">
              <a:latin typeface="Arial"/>
              <a:cs typeface="Arial"/>
            </a:endParaRPr>
          </a:p>
          <a:p>
            <a:pPr marL="355600" indent="-342900">
              <a:lnSpc>
                <a:spcPct val="100000"/>
              </a:lnSpc>
              <a:buClr>
                <a:srgbClr val="00B0F0"/>
              </a:buClr>
              <a:buFont typeface="Wingdings" panose="05000000000000000000" pitchFamily="2" charset="2"/>
              <a:buChar char="§"/>
            </a:pPr>
            <a:r>
              <a:rPr lang="en-US" sz="2200" spc="-5" dirty="0">
                <a:latin typeface="Arial"/>
                <a:cs typeface="Arial"/>
              </a:rPr>
              <a:t>E</a:t>
            </a:r>
            <a:r>
              <a:rPr sz="2200" spc="-5" dirty="0" smtClean="0">
                <a:latin typeface="Arial"/>
                <a:cs typeface="Arial"/>
              </a:rPr>
              <a:t>stablishes </a:t>
            </a:r>
            <a:r>
              <a:rPr sz="2200" spc="-5" dirty="0">
                <a:latin typeface="Arial"/>
                <a:cs typeface="Arial"/>
              </a:rPr>
              <a:t>contact between the firm and the regional market</a:t>
            </a:r>
          </a:p>
        </p:txBody>
      </p:sp>
      <p:sp>
        <p:nvSpPr>
          <p:cNvPr id="9" name="object 9"/>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15</a:t>
            </a:fld>
            <a:endParaRPr sz="1200">
              <a:latin typeface="Symbol"/>
              <a:cs typeface="Symbo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3299459" y="260604"/>
            <a:ext cx="886967"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prstGeom prst="rect">
            <a:avLst/>
          </a:prstGeom>
        </p:spPr>
        <p:txBody>
          <a:bodyPr vert="horz" wrap="square" lIns="0" tIns="0" rIns="0" bIns="0" rtlCol="0">
            <a:spAutoFit/>
          </a:bodyPr>
          <a:lstStyle/>
          <a:p>
            <a:r>
              <a:rPr dirty="0"/>
              <a:t>Sales Group</a:t>
            </a:r>
          </a:p>
        </p:txBody>
      </p:sp>
      <p:sp>
        <p:nvSpPr>
          <p:cNvPr id="5" name="object 5"/>
          <p:cNvSpPr/>
          <p:nvPr/>
        </p:nvSpPr>
        <p:spPr>
          <a:xfrm>
            <a:off x="2702850" y="2738630"/>
            <a:ext cx="478790" cy="227965"/>
          </a:xfrm>
          <a:custGeom>
            <a:avLst/>
            <a:gdLst/>
            <a:ahLst/>
            <a:cxnLst/>
            <a:rect l="l" t="t" r="r" b="b"/>
            <a:pathLst>
              <a:path w="478789" h="227964">
                <a:moveTo>
                  <a:pt x="320148" y="0"/>
                </a:moveTo>
                <a:lnTo>
                  <a:pt x="0" y="128302"/>
                </a:lnTo>
                <a:lnTo>
                  <a:pt x="20373" y="227456"/>
                </a:lnTo>
                <a:lnTo>
                  <a:pt x="94585" y="192453"/>
                </a:lnTo>
                <a:lnTo>
                  <a:pt x="69844" y="177879"/>
                </a:lnTo>
                <a:lnTo>
                  <a:pt x="478758" y="39362"/>
                </a:lnTo>
                <a:lnTo>
                  <a:pt x="320148" y="0"/>
                </a:lnTo>
                <a:close/>
              </a:path>
            </a:pathLst>
          </a:custGeom>
          <a:solidFill>
            <a:srgbClr val="F5DECC"/>
          </a:solidFill>
        </p:spPr>
        <p:txBody>
          <a:bodyPr wrap="square" lIns="0" tIns="0" rIns="0" bIns="0" rtlCol="0"/>
          <a:lstStyle/>
          <a:p>
            <a:endParaRPr/>
          </a:p>
        </p:txBody>
      </p:sp>
      <p:sp>
        <p:nvSpPr>
          <p:cNvPr id="6" name="object 6"/>
          <p:cNvSpPr/>
          <p:nvPr/>
        </p:nvSpPr>
        <p:spPr>
          <a:xfrm>
            <a:off x="4555307" y="2670107"/>
            <a:ext cx="975360" cy="464184"/>
          </a:xfrm>
          <a:custGeom>
            <a:avLst/>
            <a:gdLst/>
            <a:ahLst/>
            <a:cxnLst/>
            <a:rect l="l" t="t" r="r" b="b"/>
            <a:pathLst>
              <a:path w="975360" h="464185">
                <a:moveTo>
                  <a:pt x="328825" y="0"/>
                </a:moveTo>
                <a:lnTo>
                  <a:pt x="0" y="24788"/>
                </a:lnTo>
                <a:lnTo>
                  <a:pt x="8691" y="153090"/>
                </a:lnTo>
                <a:lnTo>
                  <a:pt x="142621" y="207039"/>
                </a:lnTo>
                <a:lnTo>
                  <a:pt x="521028" y="310553"/>
                </a:lnTo>
                <a:lnTo>
                  <a:pt x="521028" y="438855"/>
                </a:lnTo>
                <a:lnTo>
                  <a:pt x="663527" y="463644"/>
                </a:lnTo>
                <a:lnTo>
                  <a:pt x="883246" y="295979"/>
                </a:lnTo>
                <a:lnTo>
                  <a:pt x="545757" y="295979"/>
                </a:lnTo>
                <a:lnTo>
                  <a:pt x="506460" y="231816"/>
                </a:lnTo>
                <a:lnTo>
                  <a:pt x="471447" y="192453"/>
                </a:lnTo>
                <a:lnTo>
                  <a:pt x="457001" y="142888"/>
                </a:lnTo>
                <a:lnTo>
                  <a:pt x="457001" y="88939"/>
                </a:lnTo>
                <a:lnTo>
                  <a:pt x="510744" y="43734"/>
                </a:lnTo>
                <a:lnTo>
                  <a:pt x="328825" y="0"/>
                </a:lnTo>
                <a:close/>
              </a:path>
              <a:path w="975360" h="464185">
                <a:moveTo>
                  <a:pt x="974969" y="225986"/>
                </a:moveTo>
                <a:lnTo>
                  <a:pt x="545757" y="295979"/>
                </a:lnTo>
                <a:lnTo>
                  <a:pt x="883246" y="295979"/>
                </a:lnTo>
                <a:lnTo>
                  <a:pt x="974969" y="225986"/>
                </a:lnTo>
                <a:close/>
              </a:path>
            </a:pathLst>
          </a:custGeom>
          <a:solidFill>
            <a:srgbClr val="F5DECC"/>
          </a:solidFill>
        </p:spPr>
        <p:txBody>
          <a:bodyPr wrap="square" lIns="0" tIns="0" rIns="0" bIns="0" rtlCol="0"/>
          <a:lstStyle/>
          <a:p>
            <a:endParaRPr/>
          </a:p>
        </p:txBody>
      </p:sp>
      <p:sp>
        <p:nvSpPr>
          <p:cNvPr id="7" name="object 7"/>
          <p:cNvSpPr/>
          <p:nvPr/>
        </p:nvSpPr>
        <p:spPr>
          <a:xfrm>
            <a:off x="3526496" y="2996705"/>
            <a:ext cx="3416935" cy="528320"/>
          </a:xfrm>
          <a:custGeom>
            <a:avLst/>
            <a:gdLst/>
            <a:ahLst/>
            <a:cxnLst/>
            <a:rect l="l" t="t" r="r" b="b"/>
            <a:pathLst>
              <a:path w="3416934" h="528320">
                <a:moveTo>
                  <a:pt x="500559" y="0"/>
                </a:moveTo>
                <a:lnTo>
                  <a:pt x="142609" y="137046"/>
                </a:lnTo>
                <a:lnTo>
                  <a:pt x="0" y="246402"/>
                </a:lnTo>
                <a:lnTo>
                  <a:pt x="915325" y="517586"/>
                </a:lnTo>
                <a:lnTo>
                  <a:pt x="1669078" y="527791"/>
                </a:lnTo>
                <a:lnTo>
                  <a:pt x="2436052" y="482594"/>
                </a:lnTo>
                <a:lnTo>
                  <a:pt x="2825966" y="428647"/>
                </a:lnTo>
                <a:lnTo>
                  <a:pt x="3006286" y="354288"/>
                </a:lnTo>
                <a:lnTo>
                  <a:pt x="2243972" y="354288"/>
                </a:lnTo>
                <a:lnTo>
                  <a:pt x="1953505" y="294509"/>
                </a:lnTo>
                <a:lnTo>
                  <a:pt x="910918" y="294509"/>
                </a:lnTo>
                <a:lnTo>
                  <a:pt x="491867" y="72895"/>
                </a:lnTo>
                <a:lnTo>
                  <a:pt x="500559" y="0"/>
                </a:lnTo>
                <a:close/>
              </a:path>
              <a:path w="3416934" h="528320">
                <a:moveTo>
                  <a:pt x="3165075" y="27691"/>
                </a:moveTo>
                <a:lnTo>
                  <a:pt x="2569859" y="211399"/>
                </a:lnTo>
                <a:lnTo>
                  <a:pt x="2243972" y="354288"/>
                </a:lnTo>
                <a:lnTo>
                  <a:pt x="3006286" y="354288"/>
                </a:lnTo>
                <a:lnTo>
                  <a:pt x="3328019" y="221614"/>
                </a:lnTo>
                <a:lnTo>
                  <a:pt x="3416775" y="93311"/>
                </a:lnTo>
                <a:lnTo>
                  <a:pt x="3165075" y="27691"/>
                </a:lnTo>
                <a:close/>
              </a:path>
              <a:path w="3416934" h="528320">
                <a:moveTo>
                  <a:pt x="1357636" y="176409"/>
                </a:moveTo>
                <a:lnTo>
                  <a:pt x="910918" y="294509"/>
                </a:lnTo>
                <a:lnTo>
                  <a:pt x="1953505" y="294509"/>
                </a:lnTo>
                <a:lnTo>
                  <a:pt x="1762241" y="255147"/>
                </a:lnTo>
                <a:lnTo>
                  <a:pt x="1357636" y="176409"/>
                </a:lnTo>
                <a:close/>
              </a:path>
            </a:pathLst>
          </a:custGeom>
          <a:solidFill>
            <a:srgbClr val="F5DECC"/>
          </a:solidFill>
        </p:spPr>
        <p:txBody>
          <a:bodyPr wrap="square" lIns="0" tIns="0" rIns="0" bIns="0" rtlCol="0"/>
          <a:lstStyle/>
          <a:p>
            <a:endParaRPr/>
          </a:p>
        </p:txBody>
      </p:sp>
      <p:sp>
        <p:nvSpPr>
          <p:cNvPr id="8" name="object 8"/>
          <p:cNvSpPr/>
          <p:nvPr/>
        </p:nvSpPr>
        <p:spPr>
          <a:xfrm>
            <a:off x="3817591" y="647803"/>
            <a:ext cx="2305050" cy="1933575"/>
          </a:xfrm>
          <a:custGeom>
            <a:avLst/>
            <a:gdLst/>
            <a:ahLst/>
            <a:cxnLst/>
            <a:rect l="l" t="t" r="r" b="b"/>
            <a:pathLst>
              <a:path w="2305050" h="1933575">
                <a:moveTo>
                  <a:pt x="2030704" y="1264161"/>
                </a:moveTo>
                <a:lnTo>
                  <a:pt x="1226669" y="1264161"/>
                </a:lnTo>
                <a:lnTo>
                  <a:pt x="1279065" y="1353076"/>
                </a:lnTo>
                <a:lnTo>
                  <a:pt x="1415811" y="1545481"/>
                </a:lnTo>
                <a:lnTo>
                  <a:pt x="1433317" y="1631579"/>
                </a:lnTo>
                <a:lnTo>
                  <a:pt x="1404181" y="1834222"/>
                </a:lnTo>
                <a:lnTo>
                  <a:pt x="1462454" y="1923162"/>
                </a:lnTo>
                <a:lnTo>
                  <a:pt x="1589038" y="1933363"/>
                </a:lnTo>
                <a:lnTo>
                  <a:pt x="2030704" y="1264161"/>
                </a:lnTo>
                <a:close/>
              </a:path>
              <a:path w="2305050" h="1933575">
                <a:moveTo>
                  <a:pt x="512213" y="86098"/>
                </a:moveTo>
                <a:lnTo>
                  <a:pt x="401544" y="131290"/>
                </a:lnTo>
                <a:lnTo>
                  <a:pt x="309850" y="164848"/>
                </a:lnTo>
                <a:lnTo>
                  <a:pt x="238600" y="246414"/>
                </a:lnTo>
                <a:lnTo>
                  <a:pt x="221094" y="351373"/>
                </a:lnTo>
                <a:lnTo>
                  <a:pt x="176042" y="409793"/>
                </a:lnTo>
                <a:lnTo>
                  <a:pt x="189142" y="543900"/>
                </a:lnTo>
                <a:lnTo>
                  <a:pt x="241538" y="559944"/>
                </a:lnTo>
                <a:lnTo>
                  <a:pt x="97447" y="675068"/>
                </a:lnTo>
                <a:lnTo>
                  <a:pt x="0" y="769862"/>
                </a:lnTo>
                <a:lnTo>
                  <a:pt x="858546" y="1742368"/>
                </a:lnTo>
                <a:lnTo>
                  <a:pt x="1031650" y="1667953"/>
                </a:lnTo>
                <a:lnTo>
                  <a:pt x="1129221" y="1592143"/>
                </a:lnTo>
                <a:lnTo>
                  <a:pt x="1155419" y="1503228"/>
                </a:lnTo>
                <a:lnTo>
                  <a:pt x="1145136" y="1453626"/>
                </a:lnTo>
                <a:lnTo>
                  <a:pt x="1171334" y="1392390"/>
                </a:lnTo>
                <a:lnTo>
                  <a:pt x="1184433" y="1339972"/>
                </a:lnTo>
                <a:lnTo>
                  <a:pt x="1226669" y="1264161"/>
                </a:lnTo>
                <a:lnTo>
                  <a:pt x="2030704" y="1264161"/>
                </a:lnTo>
                <a:lnTo>
                  <a:pt x="2304962" y="848612"/>
                </a:lnTo>
                <a:lnTo>
                  <a:pt x="2216206" y="688173"/>
                </a:lnTo>
                <a:lnTo>
                  <a:pt x="2214270" y="685356"/>
                </a:lnTo>
                <a:lnTo>
                  <a:pt x="1034588" y="685356"/>
                </a:lnTo>
                <a:lnTo>
                  <a:pt x="1018551" y="590562"/>
                </a:lnTo>
                <a:lnTo>
                  <a:pt x="965002" y="564353"/>
                </a:lnTo>
                <a:lnTo>
                  <a:pt x="900659" y="564353"/>
                </a:lnTo>
                <a:lnTo>
                  <a:pt x="785704" y="524917"/>
                </a:lnTo>
                <a:lnTo>
                  <a:pt x="774074" y="491359"/>
                </a:lnTo>
                <a:lnTo>
                  <a:pt x="826471" y="417019"/>
                </a:lnTo>
                <a:lnTo>
                  <a:pt x="803211" y="367417"/>
                </a:lnTo>
                <a:lnTo>
                  <a:pt x="793050" y="304711"/>
                </a:lnTo>
                <a:lnTo>
                  <a:pt x="766851" y="265398"/>
                </a:lnTo>
                <a:lnTo>
                  <a:pt x="774074" y="173543"/>
                </a:lnTo>
                <a:lnTo>
                  <a:pt x="734777" y="118186"/>
                </a:lnTo>
                <a:lnTo>
                  <a:pt x="593624" y="118186"/>
                </a:lnTo>
                <a:lnTo>
                  <a:pt x="512213" y="86098"/>
                </a:lnTo>
                <a:close/>
              </a:path>
              <a:path w="2305050" h="1933575">
                <a:moveTo>
                  <a:pt x="1423156" y="0"/>
                </a:moveTo>
                <a:lnTo>
                  <a:pt x="1354722" y="29148"/>
                </a:lnTo>
                <a:lnTo>
                  <a:pt x="1283473" y="78749"/>
                </a:lnTo>
                <a:lnTo>
                  <a:pt x="1231076" y="99202"/>
                </a:lnTo>
                <a:lnTo>
                  <a:pt x="1204878" y="128351"/>
                </a:lnTo>
                <a:lnTo>
                  <a:pt x="1126283" y="204161"/>
                </a:lnTo>
                <a:lnTo>
                  <a:pt x="1100084" y="278502"/>
                </a:lnTo>
                <a:lnTo>
                  <a:pt x="1113183" y="331043"/>
                </a:lnTo>
                <a:lnTo>
                  <a:pt x="1152481" y="357252"/>
                </a:lnTo>
                <a:lnTo>
                  <a:pt x="1158235" y="475315"/>
                </a:lnTo>
                <a:lnTo>
                  <a:pt x="1191778" y="538021"/>
                </a:lnTo>
                <a:lnTo>
                  <a:pt x="1142320" y="564353"/>
                </a:lnTo>
                <a:lnTo>
                  <a:pt x="1034588" y="685356"/>
                </a:lnTo>
                <a:lnTo>
                  <a:pt x="2214270" y="685356"/>
                </a:lnTo>
                <a:lnTo>
                  <a:pt x="2142019" y="580274"/>
                </a:lnTo>
                <a:lnTo>
                  <a:pt x="2118758" y="530796"/>
                </a:lnTo>
                <a:lnTo>
                  <a:pt x="2006620" y="436002"/>
                </a:lnTo>
                <a:lnTo>
                  <a:pt x="1926678" y="417019"/>
                </a:lnTo>
                <a:lnTo>
                  <a:pt x="1804379" y="354313"/>
                </a:lnTo>
                <a:lnTo>
                  <a:pt x="1709746" y="344147"/>
                </a:lnTo>
                <a:lnTo>
                  <a:pt x="1703992" y="307651"/>
                </a:lnTo>
                <a:lnTo>
                  <a:pt x="1677794" y="291607"/>
                </a:lnTo>
                <a:lnTo>
                  <a:pt x="1677794" y="226084"/>
                </a:lnTo>
                <a:lnTo>
                  <a:pt x="1693831" y="138516"/>
                </a:lnTo>
                <a:lnTo>
                  <a:pt x="1644373" y="81689"/>
                </a:lnTo>
                <a:lnTo>
                  <a:pt x="1583162" y="13227"/>
                </a:lnTo>
                <a:lnTo>
                  <a:pt x="1527949" y="13227"/>
                </a:lnTo>
                <a:lnTo>
                  <a:pt x="1423156" y="0"/>
                </a:lnTo>
                <a:close/>
              </a:path>
              <a:path w="2305050" h="1933575">
                <a:moveTo>
                  <a:pt x="955994" y="559944"/>
                </a:moveTo>
                <a:lnTo>
                  <a:pt x="900659" y="564353"/>
                </a:lnTo>
                <a:lnTo>
                  <a:pt x="965002" y="564353"/>
                </a:lnTo>
                <a:lnTo>
                  <a:pt x="955994" y="559944"/>
                </a:lnTo>
                <a:close/>
              </a:path>
              <a:path w="2305050" h="1933575">
                <a:moveTo>
                  <a:pt x="659120" y="105081"/>
                </a:moveTo>
                <a:lnTo>
                  <a:pt x="593624" y="118186"/>
                </a:lnTo>
                <a:lnTo>
                  <a:pt x="734777" y="118186"/>
                </a:lnTo>
                <a:lnTo>
                  <a:pt x="659120" y="105081"/>
                </a:lnTo>
                <a:close/>
              </a:path>
            </a:pathLst>
          </a:custGeom>
          <a:solidFill>
            <a:srgbClr val="FFFFFF"/>
          </a:solidFill>
        </p:spPr>
        <p:txBody>
          <a:bodyPr wrap="square" lIns="0" tIns="0" rIns="0" bIns="0" rtlCol="0"/>
          <a:lstStyle/>
          <a:p>
            <a:endParaRPr/>
          </a:p>
        </p:txBody>
      </p:sp>
      <p:sp>
        <p:nvSpPr>
          <p:cNvPr id="9" name="object 9"/>
          <p:cNvSpPr/>
          <p:nvPr/>
        </p:nvSpPr>
        <p:spPr>
          <a:xfrm>
            <a:off x="3674921" y="2511187"/>
            <a:ext cx="158750" cy="121285"/>
          </a:xfrm>
          <a:custGeom>
            <a:avLst/>
            <a:gdLst/>
            <a:ahLst/>
            <a:cxnLst/>
            <a:rect l="l" t="t" r="r" b="b"/>
            <a:pathLst>
              <a:path w="158750" h="121285">
                <a:moveTo>
                  <a:pt x="113509" y="0"/>
                </a:moveTo>
                <a:lnTo>
                  <a:pt x="0" y="21861"/>
                </a:lnTo>
                <a:lnTo>
                  <a:pt x="37840" y="81640"/>
                </a:lnTo>
                <a:lnTo>
                  <a:pt x="158585" y="121015"/>
                </a:lnTo>
                <a:lnTo>
                  <a:pt x="139695" y="36447"/>
                </a:lnTo>
                <a:lnTo>
                  <a:pt x="113509" y="0"/>
                </a:lnTo>
                <a:close/>
              </a:path>
            </a:pathLst>
          </a:custGeom>
          <a:solidFill>
            <a:srgbClr val="C2AB99"/>
          </a:solidFill>
        </p:spPr>
        <p:txBody>
          <a:bodyPr wrap="square" lIns="0" tIns="0" rIns="0" bIns="0" rtlCol="0"/>
          <a:lstStyle/>
          <a:p>
            <a:endParaRPr/>
          </a:p>
        </p:txBody>
      </p:sp>
      <p:sp>
        <p:nvSpPr>
          <p:cNvPr id="10" name="object 10"/>
          <p:cNvSpPr/>
          <p:nvPr/>
        </p:nvSpPr>
        <p:spPr>
          <a:xfrm>
            <a:off x="5952265" y="2855273"/>
            <a:ext cx="99060" cy="128905"/>
          </a:xfrm>
          <a:custGeom>
            <a:avLst/>
            <a:gdLst/>
            <a:ahLst/>
            <a:cxnLst/>
            <a:rect l="l" t="t" r="r" b="b"/>
            <a:pathLst>
              <a:path w="99060" h="128905">
                <a:moveTo>
                  <a:pt x="62557" y="0"/>
                </a:moveTo>
                <a:lnTo>
                  <a:pt x="20444" y="39362"/>
                </a:lnTo>
                <a:lnTo>
                  <a:pt x="0" y="100598"/>
                </a:lnTo>
                <a:lnTo>
                  <a:pt x="39297" y="128302"/>
                </a:lnTo>
                <a:lnTo>
                  <a:pt x="66964" y="37905"/>
                </a:lnTo>
                <a:lnTo>
                  <a:pt x="99039" y="7287"/>
                </a:lnTo>
                <a:lnTo>
                  <a:pt x="62557" y="0"/>
                </a:lnTo>
                <a:close/>
              </a:path>
            </a:pathLst>
          </a:custGeom>
          <a:solidFill>
            <a:srgbClr val="FFDFB1"/>
          </a:solidFill>
        </p:spPr>
        <p:txBody>
          <a:bodyPr wrap="square" lIns="0" tIns="0" rIns="0" bIns="0" rtlCol="0"/>
          <a:lstStyle/>
          <a:p>
            <a:endParaRPr/>
          </a:p>
        </p:txBody>
      </p:sp>
      <p:sp>
        <p:nvSpPr>
          <p:cNvPr id="11" name="object 11"/>
          <p:cNvSpPr/>
          <p:nvPr/>
        </p:nvSpPr>
        <p:spPr>
          <a:xfrm>
            <a:off x="4076514" y="2779450"/>
            <a:ext cx="2062480" cy="676910"/>
          </a:xfrm>
          <a:custGeom>
            <a:avLst/>
            <a:gdLst/>
            <a:ahLst/>
            <a:cxnLst/>
            <a:rect l="l" t="t" r="r" b="b"/>
            <a:pathLst>
              <a:path w="2062479" h="676910">
                <a:moveTo>
                  <a:pt x="0" y="328054"/>
                </a:moveTo>
                <a:lnTo>
                  <a:pt x="87409" y="485517"/>
                </a:lnTo>
                <a:lnTo>
                  <a:pt x="541350" y="676520"/>
                </a:lnTo>
                <a:lnTo>
                  <a:pt x="1004105" y="577372"/>
                </a:lnTo>
                <a:lnTo>
                  <a:pt x="957585" y="472401"/>
                </a:lnTo>
                <a:lnTo>
                  <a:pt x="1940662" y="472401"/>
                </a:lnTo>
                <a:lnTo>
                  <a:pt x="1945799" y="468028"/>
                </a:lnTo>
                <a:lnTo>
                  <a:pt x="490422" y="468028"/>
                </a:lnTo>
                <a:lnTo>
                  <a:pt x="0" y="328054"/>
                </a:lnTo>
                <a:close/>
              </a:path>
              <a:path w="2062479" h="676910">
                <a:moveTo>
                  <a:pt x="1940662" y="472401"/>
                </a:moveTo>
                <a:lnTo>
                  <a:pt x="957585" y="472401"/>
                </a:lnTo>
                <a:lnTo>
                  <a:pt x="1138035" y="510306"/>
                </a:lnTo>
                <a:lnTo>
                  <a:pt x="1498935" y="661939"/>
                </a:lnTo>
                <a:lnTo>
                  <a:pt x="1664817" y="667771"/>
                </a:lnTo>
                <a:lnTo>
                  <a:pt x="1771080" y="616747"/>
                </a:lnTo>
                <a:lnTo>
                  <a:pt x="1940662" y="472401"/>
                </a:lnTo>
                <a:close/>
              </a:path>
              <a:path w="2062479" h="676910">
                <a:moveTo>
                  <a:pt x="953178" y="323682"/>
                </a:moveTo>
                <a:lnTo>
                  <a:pt x="490422" y="468028"/>
                </a:lnTo>
                <a:lnTo>
                  <a:pt x="1945799" y="468028"/>
                </a:lnTo>
                <a:lnTo>
                  <a:pt x="1983482" y="435953"/>
                </a:lnTo>
                <a:lnTo>
                  <a:pt x="2062077" y="412622"/>
                </a:lnTo>
                <a:lnTo>
                  <a:pt x="2043738" y="329512"/>
                </a:lnTo>
                <a:lnTo>
                  <a:pt x="1146727" y="329512"/>
                </a:lnTo>
                <a:lnTo>
                  <a:pt x="953178" y="323682"/>
                </a:lnTo>
                <a:close/>
              </a:path>
              <a:path w="2062479" h="676910">
                <a:moveTo>
                  <a:pt x="1747301" y="153090"/>
                </a:moveTo>
                <a:lnTo>
                  <a:pt x="1424625" y="153090"/>
                </a:lnTo>
                <a:lnTo>
                  <a:pt x="1146727" y="329512"/>
                </a:lnTo>
                <a:lnTo>
                  <a:pt x="2043738" y="329512"/>
                </a:lnTo>
                <a:lnTo>
                  <a:pt x="2034410" y="287234"/>
                </a:lnTo>
                <a:lnTo>
                  <a:pt x="1747301" y="153090"/>
                </a:lnTo>
                <a:close/>
              </a:path>
              <a:path w="2062479" h="676910">
                <a:moveTo>
                  <a:pt x="1443601" y="0"/>
                </a:moveTo>
                <a:lnTo>
                  <a:pt x="1258743" y="23331"/>
                </a:lnTo>
                <a:lnTo>
                  <a:pt x="1046341" y="180793"/>
                </a:lnTo>
                <a:lnTo>
                  <a:pt x="1152603" y="189550"/>
                </a:lnTo>
                <a:lnTo>
                  <a:pt x="1424625" y="153090"/>
                </a:lnTo>
                <a:lnTo>
                  <a:pt x="1747301" y="153090"/>
                </a:lnTo>
                <a:lnTo>
                  <a:pt x="1709869" y="135601"/>
                </a:lnTo>
                <a:lnTo>
                  <a:pt x="1653187" y="59778"/>
                </a:lnTo>
                <a:lnTo>
                  <a:pt x="1443601" y="0"/>
                </a:lnTo>
                <a:close/>
              </a:path>
            </a:pathLst>
          </a:custGeom>
          <a:solidFill>
            <a:srgbClr val="C2AB99"/>
          </a:solidFill>
        </p:spPr>
        <p:txBody>
          <a:bodyPr wrap="square" lIns="0" tIns="0" rIns="0" bIns="0" rtlCol="0"/>
          <a:lstStyle/>
          <a:p>
            <a:endParaRPr/>
          </a:p>
        </p:txBody>
      </p:sp>
      <p:sp>
        <p:nvSpPr>
          <p:cNvPr id="12" name="object 12"/>
          <p:cNvSpPr/>
          <p:nvPr/>
        </p:nvSpPr>
        <p:spPr>
          <a:xfrm>
            <a:off x="2643186" y="643517"/>
            <a:ext cx="4324814" cy="2761425"/>
          </a:xfrm>
          <a:prstGeom prst="rect">
            <a:avLst/>
          </a:prstGeom>
          <a:blipFill>
            <a:blip r:embed="rId3" cstate="print"/>
            <a:stretch>
              <a:fillRect/>
            </a:stretch>
          </a:blipFill>
        </p:spPr>
        <p:txBody>
          <a:bodyPr wrap="square" lIns="0" tIns="0" rIns="0" bIns="0" rtlCol="0"/>
          <a:lstStyle/>
          <a:p>
            <a:endParaRPr/>
          </a:p>
        </p:txBody>
      </p:sp>
      <p:sp>
        <p:nvSpPr>
          <p:cNvPr id="13" name="object 13"/>
          <p:cNvSpPr txBox="1"/>
          <p:nvPr/>
        </p:nvSpPr>
        <p:spPr>
          <a:xfrm>
            <a:off x="529407" y="3594824"/>
            <a:ext cx="8051800" cy="2369880"/>
          </a:xfrm>
          <a:prstGeom prst="rect">
            <a:avLst/>
          </a:prstGeom>
        </p:spPr>
        <p:txBody>
          <a:bodyPr vert="horz" wrap="square" lIns="0" tIns="0" rIns="0" bIns="0" rtlCol="0">
            <a:spAutoFit/>
          </a:bodyPr>
          <a:lstStyle/>
          <a:p>
            <a:pPr marL="355600" indent="-342900">
              <a:buClr>
                <a:srgbClr val="00B0F0"/>
              </a:buClr>
              <a:buFont typeface="Wingdings" panose="05000000000000000000" pitchFamily="2" charset="2"/>
              <a:buChar char="§"/>
            </a:pPr>
            <a:r>
              <a:rPr sz="2200" spc="-5" dirty="0" smtClean="0">
                <a:latin typeface="Arial"/>
                <a:cs typeface="Arial"/>
              </a:rPr>
              <a:t>The </a:t>
            </a:r>
            <a:r>
              <a:rPr sz="2200" spc="-5" dirty="0">
                <a:latin typeface="Arial"/>
                <a:cs typeface="Arial"/>
              </a:rPr>
              <a:t>staff of a sales office may be subdivided into sales </a:t>
            </a:r>
            <a:r>
              <a:rPr sz="2200" spc="-5" dirty="0" smtClean="0">
                <a:latin typeface="Arial"/>
                <a:cs typeface="Arial"/>
              </a:rPr>
              <a:t>groups</a:t>
            </a:r>
            <a:endParaRPr sz="2200" spc="-5" dirty="0">
              <a:latin typeface="Arial"/>
              <a:cs typeface="Arial"/>
            </a:endParaRPr>
          </a:p>
          <a:p>
            <a:pPr marL="355600" marR="266700" indent="-342900">
              <a:buClr>
                <a:srgbClr val="00B0F0"/>
              </a:buClr>
              <a:buFont typeface="Wingdings" panose="05000000000000000000" pitchFamily="2" charset="2"/>
              <a:buChar char="§"/>
            </a:pPr>
            <a:r>
              <a:rPr lang="en-US" sz="2200" spc="-5" dirty="0" smtClean="0">
                <a:latin typeface="Arial"/>
                <a:cs typeface="Arial"/>
              </a:rPr>
              <a:t>R</a:t>
            </a:r>
            <a:r>
              <a:rPr sz="2200" spc="-5" dirty="0" smtClean="0">
                <a:latin typeface="Arial"/>
                <a:cs typeface="Arial"/>
              </a:rPr>
              <a:t>esponsible </a:t>
            </a:r>
            <a:r>
              <a:rPr sz="2200" spc="-5" dirty="0">
                <a:latin typeface="Arial"/>
                <a:cs typeface="Arial"/>
              </a:rPr>
              <a:t>for all items in a sales document however  items in a delivery or a billing document can belong to different </a:t>
            </a:r>
            <a:r>
              <a:rPr lang="en-US" sz="2200" spc="-5" dirty="0" smtClean="0">
                <a:latin typeface="Arial"/>
                <a:cs typeface="Arial"/>
              </a:rPr>
              <a:t>s</a:t>
            </a:r>
            <a:r>
              <a:rPr sz="2200" spc="-5" dirty="0" smtClean="0">
                <a:latin typeface="Arial"/>
                <a:cs typeface="Arial"/>
              </a:rPr>
              <a:t>ales  groups</a:t>
            </a:r>
            <a:endParaRPr sz="2200" spc="-5" dirty="0">
              <a:latin typeface="Arial"/>
              <a:cs typeface="Arial"/>
            </a:endParaRPr>
          </a:p>
          <a:p>
            <a:pPr marL="355600" indent="-342900">
              <a:buClr>
                <a:srgbClr val="00B0F0"/>
              </a:buClr>
              <a:buFont typeface="Wingdings" panose="05000000000000000000" pitchFamily="2" charset="2"/>
              <a:buChar char="§"/>
            </a:pPr>
            <a:r>
              <a:rPr lang="en-US" sz="2200" spc="-5" dirty="0">
                <a:latin typeface="Arial"/>
                <a:cs typeface="Arial"/>
              </a:rPr>
              <a:t>S</a:t>
            </a:r>
            <a:r>
              <a:rPr sz="2200" spc="-5" dirty="0" smtClean="0">
                <a:latin typeface="Arial"/>
                <a:cs typeface="Arial"/>
              </a:rPr>
              <a:t>ales </a:t>
            </a:r>
            <a:r>
              <a:rPr sz="2200" spc="-5" dirty="0">
                <a:latin typeface="Arial"/>
                <a:cs typeface="Arial"/>
              </a:rPr>
              <a:t>group is a selection criterion for lists of sales </a:t>
            </a:r>
            <a:r>
              <a:rPr sz="2200" spc="-5" dirty="0" smtClean="0">
                <a:latin typeface="Arial"/>
                <a:cs typeface="Arial"/>
              </a:rPr>
              <a:t>documents</a:t>
            </a:r>
            <a:endParaRPr sz="2200" spc="-5" dirty="0">
              <a:latin typeface="Arial"/>
              <a:cs typeface="Arial"/>
            </a:endParaRPr>
          </a:p>
          <a:p>
            <a:pPr marL="355600" marR="5080" indent="-342900">
              <a:buClr>
                <a:srgbClr val="00B0F0"/>
              </a:buClr>
              <a:buFont typeface="Wingdings" panose="05000000000000000000" pitchFamily="2" charset="2"/>
              <a:buChar char="§"/>
            </a:pPr>
            <a:r>
              <a:rPr sz="2200" spc="-5" dirty="0" smtClean="0">
                <a:latin typeface="Arial"/>
                <a:cs typeface="Arial"/>
              </a:rPr>
              <a:t>For </a:t>
            </a:r>
            <a:r>
              <a:rPr sz="2200" spc="-5" dirty="0">
                <a:latin typeface="Arial"/>
                <a:cs typeface="Arial"/>
              </a:rPr>
              <a:t>each sales group, you can determine the printer for output differently  on the basis of the sales </a:t>
            </a:r>
            <a:r>
              <a:rPr sz="2200" spc="-5" dirty="0" smtClean="0">
                <a:latin typeface="Arial"/>
                <a:cs typeface="Arial"/>
              </a:rPr>
              <a:t>documents</a:t>
            </a:r>
            <a:endParaRPr sz="2200" spc="-5" dirty="0">
              <a:latin typeface="Arial"/>
              <a:cs typeface="Arial"/>
            </a:endParaRPr>
          </a:p>
        </p:txBody>
      </p:sp>
      <p:sp>
        <p:nvSpPr>
          <p:cNvPr id="15" name="object 15"/>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16</a:t>
            </a:fld>
            <a:endParaRPr sz="1200" dirty="0">
              <a:latin typeface="Symbol"/>
              <a:cs typeface="Symbol"/>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0" rIns="0" bIns="0" rtlCol="0">
            <a:spAutoFit/>
          </a:bodyPr>
          <a:lstStyle/>
          <a:p>
            <a:pPr>
              <a:lnSpc>
                <a:spcPct val="100000"/>
              </a:lnSpc>
            </a:pPr>
            <a:r>
              <a:rPr dirty="0"/>
              <a:t>Plant</a:t>
            </a:r>
          </a:p>
        </p:txBody>
      </p:sp>
      <p:sp>
        <p:nvSpPr>
          <p:cNvPr id="3" name="object 3"/>
          <p:cNvSpPr txBox="1"/>
          <p:nvPr/>
        </p:nvSpPr>
        <p:spPr>
          <a:xfrm>
            <a:off x="617626" y="3469943"/>
            <a:ext cx="8149590" cy="2862322"/>
          </a:xfrm>
          <a:prstGeom prst="rect">
            <a:avLst/>
          </a:prstGeom>
        </p:spPr>
        <p:txBody>
          <a:bodyPr vert="horz" wrap="square" lIns="0" tIns="0" rIns="0" bIns="0" rtlCol="0">
            <a:spAutoFit/>
          </a:bodyPr>
          <a:lstStyle/>
          <a:p>
            <a:pPr marL="355600" marR="5080" indent="-342900">
              <a:lnSpc>
                <a:spcPct val="100000"/>
              </a:lnSpc>
              <a:buClr>
                <a:srgbClr val="00B0F0"/>
              </a:buClr>
              <a:buFont typeface="Wingdings" panose="05000000000000000000" pitchFamily="2" charset="2"/>
              <a:buChar char="§"/>
              <a:tabLst>
                <a:tab pos="156210" algn="l"/>
              </a:tabLst>
            </a:pPr>
            <a:r>
              <a:rPr lang="en-US" sz="2200" spc="-5" dirty="0">
                <a:latin typeface="Arial"/>
                <a:cs typeface="Arial"/>
              </a:rPr>
              <a:t>A</a:t>
            </a:r>
            <a:r>
              <a:rPr sz="2200" spc="-5" dirty="0" smtClean="0">
                <a:latin typeface="Arial"/>
                <a:cs typeface="Arial"/>
              </a:rPr>
              <a:t>n </a:t>
            </a:r>
            <a:r>
              <a:rPr sz="2200" spc="-5" dirty="0">
                <a:latin typeface="Arial"/>
                <a:cs typeface="Arial"/>
              </a:rPr>
              <a:t>organizational unit where important business functions like  Delivery Processing, Production, Procurement, Inventory Management,  are carried out</a:t>
            </a:r>
          </a:p>
          <a:p>
            <a:pPr marL="355600" indent="-342900">
              <a:lnSpc>
                <a:spcPct val="100000"/>
              </a:lnSpc>
              <a:spcBef>
                <a:spcPts val="30"/>
              </a:spcBef>
              <a:buClr>
                <a:srgbClr val="00B0F0"/>
              </a:buClr>
              <a:buFont typeface="Wingdings" panose="05000000000000000000" pitchFamily="2" charset="2"/>
              <a:buChar char="§"/>
            </a:pPr>
            <a:endParaRPr sz="2200" spc="-5" dirty="0">
              <a:latin typeface="Arial"/>
              <a:cs typeface="Arial"/>
            </a:endParaRPr>
          </a:p>
          <a:p>
            <a:pPr marL="355600" indent="-342900">
              <a:lnSpc>
                <a:spcPct val="100000"/>
              </a:lnSpc>
              <a:buClr>
                <a:srgbClr val="00B0F0"/>
              </a:buClr>
              <a:buFont typeface="Wingdings" panose="05000000000000000000" pitchFamily="2" charset="2"/>
              <a:buChar char="§"/>
              <a:tabLst>
                <a:tab pos="154940" algn="l"/>
              </a:tabLst>
            </a:pPr>
            <a:r>
              <a:rPr sz="2200" spc="-5" dirty="0">
                <a:latin typeface="Arial"/>
                <a:cs typeface="Arial"/>
              </a:rPr>
              <a:t>Plant plays an important role in following </a:t>
            </a:r>
            <a:r>
              <a:rPr sz="2200" spc="-5" dirty="0" smtClean="0">
                <a:latin typeface="Arial"/>
                <a:cs typeface="Arial"/>
              </a:rPr>
              <a:t>areas:</a:t>
            </a:r>
            <a:endParaRPr lang="en-US" sz="2200" spc="-5" dirty="0" smtClean="0">
              <a:latin typeface="Arial"/>
              <a:cs typeface="Arial"/>
            </a:endParaRPr>
          </a:p>
          <a:p>
            <a:pPr marL="812800" lvl="1" indent="-342900">
              <a:buClr>
                <a:srgbClr val="C00000"/>
              </a:buClr>
              <a:buFont typeface="Wingdings" panose="05000000000000000000" pitchFamily="2" charset="2"/>
              <a:buChar char="§"/>
              <a:tabLst>
                <a:tab pos="154940" algn="l"/>
              </a:tabLst>
            </a:pPr>
            <a:r>
              <a:rPr spc="-5" dirty="0" smtClean="0">
                <a:latin typeface="Arial"/>
                <a:cs typeface="Arial"/>
              </a:rPr>
              <a:t>Sales </a:t>
            </a:r>
            <a:r>
              <a:rPr spc="-5" dirty="0">
                <a:latin typeface="Arial"/>
                <a:cs typeface="Arial"/>
              </a:rPr>
              <a:t>Org/Gen Plant Data view is maintained at Plant Level</a:t>
            </a:r>
          </a:p>
          <a:p>
            <a:pPr marL="812800" lvl="2" indent="-342900">
              <a:buClr>
                <a:srgbClr val="C00000"/>
              </a:buClr>
              <a:buFont typeface="Wingdings" panose="05000000000000000000" pitchFamily="2" charset="2"/>
              <a:buChar char="§"/>
              <a:tabLst>
                <a:tab pos="825500" algn="l"/>
              </a:tabLst>
            </a:pPr>
            <a:r>
              <a:rPr spc="-5" dirty="0">
                <a:latin typeface="Arial"/>
                <a:cs typeface="Arial"/>
              </a:rPr>
              <a:t>Materials can be valuated at Plant Level</a:t>
            </a:r>
          </a:p>
          <a:p>
            <a:pPr marL="812800" lvl="2" indent="-342900">
              <a:buClr>
                <a:srgbClr val="C00000"/>
              </a:buClr>
              <a:buFont typeface="Wingdings" panose="05000000000000000000" pitchFamily="2" charset="2"/>
              <a:buChar char="§"/>
              <a:tabLst>
                <a:tab pos="817880" algn="l"/>
              </a:tabLst>
            </a:pPr>
            <a:r>
              <a:rPr spc="-5" dirty="0">
                <a:latin typeface="Arial"/>
                <a:cs typeface="Arial"/>
              </a:rPr>
              <a:t>A Factory Calendar is controlled at Plant Level</a:t>
            </a:r>
          </a:p>
          <a:p>
            <a:pPr marL="812800" lvl="1" indent="-342900">
              <a:buClr>
                <a:srgbClr val="C00000"/>
              </a:buClr>
              <a:buFont typeface="Wingdings" panose="05000000000000000000" pitchFamily="2" charset="2"/>
              <a:buChar char="§"/>
            </a:pPr>
            <a:r>
              <a:rPr spc="-5" dirty="0" smtClean="0">
                <a:latin typeface="Arial"/>
                <a:cs typeface="Arial"/>
              </a:rPr>
              <a:t>User </a:t>
            </a:r>
            <a:r>
              <a:rPr spc="-5" dirty="0">
                <a:latin typeface="Arial"/>
                <a:cs typeface="Arial"/>
              </a:rPr>
              <a:t>level authorization can be controlled at Plant Level</a:t>
            </a:r>
          </a:p>
        </p:txBody>
      </p:sp>
      <p:sp>
        <p:nvSpPr>
          <p:cNvPr id="4" name="object 4"/>
          <p:cNvSpPr/>
          <p:nvPr/>
        </p:nvSpPr>
        <p:spPr>
          <a:xfrm>
            <a:off x="2971800" y="381000"/>
            <a:ext cx="3124200" cy="3124200"/>
          </a:xfrm>
          <a:prstGeom prst="rect">
            <a:avLst/>
          </a:prstGeom>
          <a:blipFill>
            <a:blip r:embed="rId2" cstate="print"/>
            <a:stretch>
              <a:fillRect/>
            </a:stretch>
          </a:blipFill>
        </p:spPr>
        <p:txBody>
          <a:bodyPr wrap="square" lIns="0" tIns="0" rIns="0" bIns="0" rtlCol="0"/>
          <a:lstStyle/>
          <a:p>
            <a:endParaRPr/>
          </a:p>
        </p:txBody>
      </p:sp>
      <p:sp>
        <p:nvSpPr>
          <p:cNvPr id="6" name="object 6"/>
          <p:cNvSpPr txBox="1">
            <a:spLocks noGrp="1"/>
          </p:cNvSpPr>
          <p:nvPr>
            <p:ph type="sldNum" sz="quarter" idx="7"/>
          </p:nvPr>
        </p:nvSpPr>
        <p:spPr>
          <a:xfrm>
            <a:off x="617626" y="6680304"/>
            <a:ext cx="1524635" cy="320601"/>
          </a:xfrm>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smtClean="0"/>
              <a:t>Indi</a:t>
            </a:r>
            <a:r>
              <a:rPr lang="en-US" spc="-5" dirty="0" smtClean="0"/>
              <a:t>	</a:t>
            </a:r>
            <a:r>
              <a:rPr spc="-5" dirty="0" smtClean="0"/>
              <a:t>a </a:t>
            </a:r>
            <a:r>
              <a:rPr spc="-10" dirty="0"/>
              <a:t>SAP </a:t>
            </a:r>
            <a:r>
              <a:rPr spc="-5" dirty="0"/>
              <a:t>CoE, </a:t>
            </a:r>
            <a:r>
              <a:rPr spc="-10" dirty="0"/>
              <a:t>Slide</a:t>
            </a:r>
            <a:r>
              <a:rPr spc="-45" dirty="0"/>
              <a:t> </a:t>
            </a:r>
            <a:fld id="{81D60167-4931-47E6-BA6A-407CBD079E47}" type="slidenum">
              <a:rPr spc="-5" dirty="0"/>
              <a:pPr marL="12700">
                <a:lnSpc>
                  <a:spcPts val="1325"/>
                </a:lnSpc>
              </a:pPr>
              <a:t>17</a:t>
            </a:fld>
            <a:endParaRPr sz="1200" dirty="0">
              <a:latin typeface="Symbol"/>
              <a:cs typeface="Symbol"/>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0" rIns="0" bIns="0" rtlCol="0">
            <a:spAutoFit/>
          </a:bodyPr>
          <a:lstStyle/>
          <a:p>
            <a:r>
              <a:rPr dirty="0"/>
              <a:t>Storage Location</a:t>
            </a:r>
          </a:p>
        </p:txBody>
      </p:sp>
      <p:sp>
        <p:nvSpPr>
          <p:cNvPr id="3" name="object 3"/>
          <p:cNvSpPr txBox="1"/>
          <p:nvPr/>
        </p:nvSpPr>
        <p:spPr>
          <a:xfrm>
            <a:off x="459740" y="4121784"/>
            <a:ext cx="7733665" cy="2031325"/>
          </a:xfrm>
          <a:prstGeom prst="rect">
            <a:avLst/>
          </a:prstGeom>
        </p:spPr>
        <p:txBody>
          <a:bodyPr vert="horz" wrap="square" lIns="0" tIns="0" rIns="0" bIns="0" rtlCol="0">
            <a:spAutoFit/>
          </a:bodyPr>
          <a:lstStyle/>
          <a:p>
            <a:pPr marL="355600" indent="-342900">
              <a:buClr>
                <a:srgbClr val="00B0F0"/>
              </a:buClr>
              <a:buFont typeface="Wingdings" panose="05000000000000000000" pitchFamily="2" charset="2"/>
              <a:buChar char="§"/>
            </a:pPr>
            <a:r>
              <a:rPr lang="en-US" sz="2200" spc="-5" dirty="0" smtClean="0">
                <a:latin typeface="Arial"/>
                <a:cs typeface="Arial"/>
              </a:rPr>
              <a:t>A</a:t>
            </a:r>
            <a:r>
              <a:rPr sz="2200" spc="-5" dirty="0" smtClean="0">
                <a:latin typeface="Arial"/>
                <a:cs typeface="Arial"/>
              </a:rPr>
              <a:t>n </a:t>
            </a:r>
            <a:r>
              <a:rPr sz="2200" spc="-5" dirty="0">
                <a:latin typeface="Arial"/>
                <a:cs typeface="Arial"/>
              </a:rPr>
              <a:t>organizational unit that allows </a:t>
            </a:r>
            <a:r>
              <a:rPr sz="2200" spc="-5" dirty="0" smtClean="0">
                <a:latin typeface="Arial"/>
                <a:cs typeface="Arial"/>
              </a:rPr>
              <a:t>the</a:t>
            </a:r>
            <a:r>
              <a:rPr lang="en-US" sz="2200" spc="-5" dirty="0" smtClean="0">
                <a:latin typeface="Arial"/>
                <a:cs typeface="Arial"/>
              </a:rPr>
              <a:t> </a:t>
            </a:r>
            <a:r>
              <a:rPr sz="2200" spc="-5" dirty="0" smtClean="0">
                <a:latin typeface="Arial"/>
                <a:cs typeface="Arial"/>
              </a:rPr>
              <a:t>differentiation </a:t>
            </a:r>
            <a:r>
              <a:rPr sz="2200" spc="-5" dirty="0">
                <a:latin typeface="Arial"/>
                <a:cs typeface="Arial"/>
              </a:rPr>
              <a:t>of material stocks within a plant</a:t>
            </a:r>
          </a:p>
          <a:p>
            <a:pPr marL="355600" indent="-342900">
              <a:spcBef>
                <a:spcPts val="30"/>
              </a:spcBef>
              <a:buClr>
                <a:srgbClr val="00B0F0"/>
              </a:buClr>
              <a:buFont typeface="Wingdings" panose="05000000000000000000" pitchFamily="2" charset="2"/>
              <a:buChar char="§"/>
            </a:pPr>
            <a:endParaRPr sz="2200" spc="-5" dirty="0">
              <a:latin typeface="Arial"/>
              <a:cs typeface="Arial"/>
            </a:endParaRPr>
          </a:p>
          <a:p>
            <a:pPr marL="355600" marR="5080" indent="-342900">
              <a:buClr>
                <a:srgbClr val="00B0F0"/>
              </a:buClr>
              <a:buFont typeface="Wingdings" panose="05000000000000000000" pitchFamily="2" charset="2"/>
              <a:buChar char="§"/>
            </a:pPr>
            <a:r>
              <a:rPr sz="2200" spc="-5" dirty="0" smtClean="0">
                <a:latin typeface="Arial"/>
                <a:cs typeface="Arial"/>
              </a:rPr>
              <a:t>Stock </a:t>
            </a:r>
            <a:r>
              <a:rPr sz="2200" spc="-5" dirty="0">
                <a:latin typeface="Arial"/>
                <a:cs typeface="Arial"/>
              </a:rPr>
              <a:t>of a material always belongs to a Storage location. Thus at least  one storage location is necessary for in-bound &amp; out-bound delivery  processing</a:t>
            </a:r>
          </a:p>
        </p:txBody>
      </p:sp>
      <p:sp>
        <p:nvSpPr>
          <p:cNvPr id="4" name="object 4"/>
          <p:cNvSpPr/>
          <p:nvPr/>
        </p:nvSpPr>
        <p:spPr>
          <a:xfrm>
            <a:off x="2441362" y="1724571"/>
            <a:ext cx="3697604" cy="1903730"/>
          </a:xfrm>
          <a:custGeom>
            <a:avLst/>
            <a:gdLst/>
            <a:ahLst/>
            <a:cxnLst/>
            <a:rect l="l" t="t" r="r" b="b"/>
            <a:pathLst>
              <a:path w="3697604" h="1903729">
                <a:moveTo>
                  <a:pt x="1562636" y="0"/>
                </a:moveTo>
                <a:lnTo>
                  <a:pt x="622104" y="565694"/>
                </a:lnTo>
                <a:lnTo>
                  <a:pt x="0" y="819001"/>
                </a:lnTo>
                <a:lnTo>
                  <a:pt x="0" y="1895745"/>
                </a:lnTo>
                <a:lnTo>
                  <a:pt x="3692680" y="1903150"/>
                </a:lnTo>
                <a:lnTo>
                  <a:pt x="3697171" y="807147"/>
                </a:lnTo>
                <a:lnTo>
                  <a:pt x="1562636" y="0"/>
                </a:lnTo>
                <a:close/>
              </a:path>
            </a:pathLst>
          </a:custGeom>
          <a:solidFill>
            <a:srgbClr val="A29393"/>
          </a:solidFill>
        </p:spPr>
        <p:txBody>
          <a:bodyPr wrap="square" lIns="0" tIns="0" rIns="0" bIns="0" rtlCol="0"/>
          <a:lstStyle/>
          <a:p>
            <a:endParaRPr/>
          </a:p>
        </p:txBody>
      </p:sp>
      <p:sp>
        <p:nvSpPr>
          <p:cNvPr id="5" name="object 5"/>
          <p:cNvSpPr/>
          <p:nvPr/>
        </p:nvSpPr>
        <p:spPr>
          <a:xfrm>
            <a:off x="4832017" y="2448782"/>
            <a:ext cx="478790" cy="231140"/>
          </a:xfrm>
          <a:custGeom>
            <a:avLst/>
            <a:gdLst/>
            <a:ahLst/>
            <a:cxnLst/>
            <a:rect l="l" t="t" r="r" b="b"/>
            <a:pathLst>
              <a:path w="478789" h="231139">
                <a:moveTo>
                  <a:pt x="210309" y="0"/>
                </a:moveTo>
                <a:lnTo>
                  <a:pt x="204447" y="0"/>
                </a:lnTo>
                <a:lnTo>
                  <a:pt x="201453" y="1473"/>
                </a:lnTo>
                <a:lnTo>
                  <a:pt x="0" y="202908"/>
                </a:lnTo>
                <a:lnTo>
                  <a:pt x="478498" y="231049"/>
                </a:lnTo>
                <a:lnTo>
                  <a:pt x="478498" y="186607"/>
                </a:lnTo>
                <a:lnTo>
                  <a:pt x="102285" y="179201"/>
                </a:lnTo>
                <a:lnTo>
                  <a:pt x="376212" y="59242"/>
                </a:lnTo>
                <a:lnTo>
                  <a:pt x="374716" y="57756"/>
                </a:lnTo>
                <a:lnTo>
                  <a:pt x="368853" y="56282"/>
                </a:lnTo>
                <a:lnTo>
                  <a:pt x="359996" y="51835"/>
                </a:lnTo>
                <a:lnTo>
                  <a:pt x="349643" y="47388"/>
                </a:lnTo>
                <a:lnTo>
                  <a:pt x="342159" y="45915"/>
                </a:lnTo>
                <a:lnTo>
                  <a:pt x="336296" y="42942"/>
                </a:lnTo>
                <a:lnTo>
                  <a:pt x="328812" y="39982"/>
                </a:lnTo>
                <a:lnTo>
                  <a:pt x="322949" y="38508"/>
                </a:lnTo>
                <a:lnTo>
                  <a:pt x="314092" y="34061"/>
                </a:lnTo>
                <a:lnTo>
                  <a:pt x="306608" y="31101"/>
                </a:lnTo>
                <a:lnTo>
                  <a:pt x="299248" y="29614"/>
                </a:lnTo>
                <a:lnTo>
                  <a:pt x="291764" y="26654"/>
                </a:lnTo>
                <a:lnTo>
                  <a:pt x="274051" y="20734"/>
                </a:lnTo>
                <a:lnTo>
                  <a:pt x="266692" y="17773"/>
                </a:lnTo>
                <a:lnTo>
                  <a:pt x="259207" y="16287"/>
                </a:lnTo>
                <a:lnTo>
                  <a:pt x="250351" y="11840"/>
                </a:lnTo>
                <a:lnTo>
                  <a:pt x="242991" y="8880"/>
                </a:lnTo>
                <a:lnTo>
                  <a:pt x="237004" y="7406"/>
                </a:lnTo>
                <a:lnTo>
                  <a:pt x="229644" y="5920"/>
                </a:lnTo>
                <a:lnTo>
                  <a:pt x="217794" y="1473"/>
                </a:lnTo>
                <a:lnTo>
                  <a:pt x="210309" y="0"/>
                </a:lnTo>
                <a:close/>
              </a:path>
            </a:pathLst>
          </a:custGeom>
          <a:solidFill>
            <a:srgbClr val="584B4B"/>
          </a:solidFill>
        </p:spPr>
        <p:txBody>
          <a:bodyPr wrap="square" lIns="0" tIns="0" rIns="0" bIns="0" rtlCol="0"/>
          <a:lstStyle/>
          <a:p>
            <a:endParaRPr/>
          </a:p>
        </p:txBody>
      </p:sp>
      <p:sp>
        <p:nvSpPr>
          <p:cNvPr id="6" name="object 6"/>
          <p:cNvSpPr/>
          <p:nvPr/>
        </p:nvSpPr>
        <p:spPr>
          <a:xfrm>
            <a:off x="4472144" y="2703526"/>
            <a:ext cx="751205" cy="149860"/>
          </a:xfrm>
          <a:custGeom>
            <a:avLst/>
            <a:gdLst/>
            <a:ahLst/>
            <a:cxnLst/>
            <a:rect l="l" t="t" r="r" b="b"/>
            <a:pathLst>
              <a:path w="751204" h="149860">
                <a:moveTo>
                  <a:pt x="743739" y="88869"/>
                </a:moveTo>
                <a:lnTo>
                  <a:pt x="105154" y="88869"/>
                </a:lnTo>
                <a:lnTo>
                  <a:pt x="109520" y="90343"/>
                </a:lnTo>
                <a:lnTo>
                  <a:pt x="124364" y="93303"/>
                </a:lnTo>
                <a:lnTo>
                  <a:pt x="136215" y="96264"/>
                </a:lnTo>
                <a:lnTo>
                  <a:pt x="142202" y="96264"/>
                </a:lnTo>
                <a:lnTo>
                  <a:pt x="148065" y="97750"/>
                </a:lnTo>
                <a:lnTo>
                  <a:pt x="156921" y="99236"/>
                </a:lnTo>
                <a:lnTo>
                  <a:pt x="164406" y="102197"/>
                </a:lnTo>
                <a:lnTo>
                  <a:pt x="171765" y="102197"/>
                </a:lnTo>
                <a:lnTo>
                  <a:pt x="179249" y="105157"/>
                </a:lnTo>
                <a:lnTo>
                  <a:pt x="188106" y="105157"/>
                </a:lnTo>
                <a:lnTo>
                  <a:pt x="199956" y="106631"/>
                </a:lnTo>
                <a:lnTo>
                  <a:pt x="217669" y="109604"/>
                </a:lnTo>
                <a:lnTo>
                  <a:pt x="241369" y="112564"/>
                </a:lnTo>
                <a:lnTo>
                  <a:pt x="253220" y="112564"/>
                </a:lnTo>
                <a:lnTo>
                  <a:pt x="265070" y="115524"/>
                </a:lnTo>
                <a:lnTo>
                  <a:pt x="276920" y="116998"/>
                </a:lnTo>
                <a:lnTo>
                  <a:pt x="290267" y="119971"/>
                </a:lnTo>
                <a:lnTo>
                  <a:pt x="303614" y="119971"/>
                </a:lnTo>
                <a:lnTo>
                  <a:pt x="310974" y="121445"/>
                </a:lnTo>
                <a:lnTo>
                  <a:pt x="325818" y="121445"/>
                </a:lnTo>
                <a:lnTo>
                  <a:pt x="348021" y="125891"/>
                </a:lnTo>
                <a:lnTo>
                  <a:pt x="368728" y="125891"/>
                </a:lnTo>
                <a:lnTo>
                  <a:pt x="376212" y="127378"/>
                </a:lnTo>
                <a:lnTo>
                  <a:pt x="383572" y="127378"/>
                </a:lnTo>
                <a:lnTo>
                  <a:pt x="392428" y="128851"/>
                </a:lnTo>
                <a:lnTo>
                  <a:pt x="416129" y="128851"/>
                </a:lnTo>
                <a:lnTo>
                  <a:pt x="423613" y="130338"/>
                </a:lnTo>
                <a:lnTo>
                  <a:pt x="430973" y="130338"/>
                </a:lnTo>
                <a:lnTo>
                  <a:pt x="439829" y="131812"/>
                </a:lnTo>
                <a:lnTo>
                  <a:pt x="447314" y="131812"/>
                </a:lnTo>
                <a:lnTo>
                  <a:pt x="456170" y="133298"/>
                </a:lnTo>
                <a:lnTo>
                  <a:pt x="465027" y="133298"/>
                </a:lnTo>
                <a:lnTo>
                  <a:pt x="474008" y="134772"/>
                </a:lnTo>
                <a:lnTo>
                  <a:pt x="496211" y="134772"/>
                </a:lnTo>
                <a:lnTo>
                  <a:pt x="505068" y="136258"/>
                </a:lnTo>
                <a:lnTo>
                  <a:pt x="528768" y="136258"/>
                </a:lnTo>
                <a:lnTo>
                  <a:pt x="537625" y="137745"/>
                </a:lnTo>
                <a:lnTo>
                  <a:pt x="545109" y="137745"/>
                </a:lnTo>
                <a:lnTo>
                  <a:pt x="552469" y="139218"/>
                </a:lnTo>
                <a:lnTo>
                  <a:pt x="559828" y="139218"/>
                </a:lnTo>
                <a:lnTo>
                  <a:pt x="567313" y="140705"/>
                </a:lnTo>
                <a:lnTo>
                  <a:pt x="574672" y="140705"/>
                </a:lnTo>
                <a:lnTo>
                  <a:pt x="582032" y="142179"/>
                </a:lnTo>
                <a:lnTo>
                  <a:pt x="589516" y="142179"/>
                </a:lnTo>
                <a:lnTo>
                  <a:pt x="598373" y="143665"/>
                </a:lnTo>
                <a:lnTo>
                  <a:pt x="663486" y="143665"/>
                </a:lnTo>
                <a:lnTo>
                  <a:pt x="675337" y="145139"/>
                </a:lnTo>
                <a:lnTo>
                  <a:pt x="684318" y="145139"/>
                </a:lnTo>
                <a:lnTo>
                  <a:pt x="694671" y="146625"/>
                </a:lnTo>
                <a:lnTo>
                  <a:pt x="715378" y="146625"/>
                </a:lnTo>
                <a:lnTo>
                  <a:pt x="721365" y="148112"/>
                </a:lnTo>
                <a:lnTo>
                  <a:pt x="728725" y="148112"/>
                </a:lnTo>
                <a:lnTo>
                  <a:pt x="733215" y="149586"/>
                </a:lnTo>
                <a:lnTo>
                  <a:pt x="743739" y="88869"/>
                </a:lnTo>
                <a:close/>
              </a:path>
              <a:path w="751204" h="149860">
                <a:moveTo>
                  <a:pt x="57754" y="53321"/>
                </a:moveTo>
                <a:lnTo>
                  <a:pt x="56257" y="53321"/>
                </a:lnTo>
                <a:lnTo>
                  <a:pt x="0" y="66649"/>
                </a:lnTo>
                <a:lnTo>
                  <a:pt x="71101" y="102197"/>
                </a:lnTo>
                <a:lnTo>
                  <a:pt x="102161" y="88869"/>
                </a:lnTo>
                <a:lnTo>
                  <a:pt x="743739" y="88869"/>
                </a:lnTo>
                <a:lnTo>
                  <a:pt x="743996" y="87383"/>
                </a:lnTo>
                <a:lnTo>
                  <a:pt x="308105" y="87383"/>
                </a:lnTo>
                <a:lnTo>
                  <a:pt x="297627" y="85897"/>
                </a:lnTo>
                <a:lnTo>
                  <a:pt x="237004" y="85897"/>
                </a:lnTo>
                <a:lnTo>
                  <a:pt x="226526" y="84423"/>
                </a:lnTo>
                <a:lnTo>
                  <a:pt x="208813" y="81462"/>
                </a:lnTo>
                <a:lnTo>
                  <a:pt x="191100" y="81462"/>
                </a:lnTo>
                <a:lnTo>
                  <a:pt x="182118" y="79976"/>
                </a:lnTo>
                <a:lnTo>
                  <a:pt x="174759" y="78490"/>
                </a:lnTo>
                <a:lnTo>
                  <a:pt x="167399" y="78490"/>
                </a:lnTo>
                <a:lnTo>
                  <a:pt x="158418" y="75529"/>
                </a:lnTo>
                <a:lnTo>
                  <a:pt x="151058" y="74056"/>
                </a:lnTo>
                <a:lnTo>
                  <a:pt x="143699" y="74056"/>
                </a:lnTo>
                <a:lnTo>
                  <a:pt x="136215" y="72569"/>
                </a:lnTo>
                <a:lnTo>
                  <a:pt x="128855" y="69609"/>
                </a:lnTo>
                <a:lnTo>
                  <a:pt x="121371" y="69609"/>
                </a:lnTo>
                <a:lnTo>
                  <a:pt x="115508" y="66649"/>
                </a:lnTo>
                <a:lnTo>
                  <a:pt x="109520" y="66649"/>
                </a:lnTo>
                <a:lnTo>
                  <a:pt x="96298" y="63689"/>
                </a:lnTo>
                <a:lnTo>
                  <a:pt x="85820" y="60728"/>
                </a:lnTo>
                <a:lnTo>
                  <a:pt x="76963" y="57756"/>
                </a:lnTo>
                <a:lnTo>
                  <a:pt x="69604" y="57756"/>
                </a:lnTo>
                <a:lnTo>
                  <a:pt x="57754" y="53321"/>
                </a:lnTo>
                <a:close/>
              </a:path>
              <a:path w="751204" h="149860">
                <a:moveTo>
                  <a:pt x="189603" y="7406"/>
                </a:moveTo>
                <a:lnTo>
                  <a:pt x="171765" y="29614"/>
                </a:lnTo>
                <a:lnTo>
                  <a:pt x="438457" y="79976"/>
                </a:lnTo>
                <a:lnTo>
                  <a:pt x="426607" y="79976"/>
                </a:lnTo>
                <a:lnTo>
                  <a:pt x="419123" y="81462"/>
                </a:lnTo>
                <a:lnTo>
                  <a:pt x="396919" y="81462"/>
                </a:lnTo>
                <a:lnTo>
                  <a:pt x="373219" y="84423"/>
                </a:lnTo>
                <a:lnTo>
                  <a:pt x="349518" y="84423"/>
                </a:lnTo>
                <a:lnTo>
                  <a:pt x="342159" y="85897"/>
                </a:lnTo>
                <a:lnTo>
                  <a:pt x="315464" y="85897"/>
                </a:lnTo>
                <a:lnTo>
                  <a:pt x="308105" y="87383"/>
                </a:lnTo>
                <a:lnTo>
                  <a:pt x="743996" y="87383"/>
                </a:lnTo>
                <a:lnTo>
                  <a:pt x="750928" y="47388"/>
                </a:lnTo>
                <a:lnTo>
                  <a:pt x="373219" y="29614"/>
                </a:lnTo>
                <a:lnTo>
                  <a:pt x="330890" y="13327"/>
                </a:lnTo>
                <a:lnTo>
                  <a:pt x="260704" y="13327"/>
                </a:lnTo>
                <a:lnTo>
                  <a:pt x="189603" y="7406"/>
                </a:lnTo>
                <a:close/>
              </a:path>
              <a:path w="751204" h="149860">
                <a:moveTo>
                  <a:pt x="296255" y="0"/>
                </a:moveTo>
                <a:lnTo>
                  <a:pt x="260704" y="13327"/>
                </a:lnTo>
                <a:lnTo>
                  <a:pt x="330890" y="13327"/>
                </a:lnTo>
                <a:lnTo>
                  <a:pt x="296255" y="0"/>
                </a:lnTo>
                <a:close/>
              </a:path>
            </a:pathLst>
          </a:custGeom>
          <a:solidFill>
            <a:srgbClr val="584B4B"/>
          </a:solidFill>
        </p:spPr>
        <p:txBody>
          <a:bodyPr wrap="square" lIns="0" tIns="0" rIns="0" bIns="0" rtlCol="0"/>
          <a:lstStyle/>
          <a:p>
            <a:endParaRPr/>
          </a:p>
        </p:txBody>
      </p:sp>
      <p:sp>
        <p:nvSpPr>
          <p:cNvPr id="7" name="object 7"/>
          <p:cNvSpPr/>
          <p:nvPr/>
        </p:nvSpPr>
        <p:spPr>
          <a:xfrm>
            <a:off x="5095715" y="1443161"/>
            <a:ext cx="619125" cy="694690"/>
          </a:xfrm>
          <a:custGeom>
            <a:avLst/>
            <a:gdLst/>
            <a:ahLst/>
            <a:cxnLst/>
            <a:rect l="l" t="t" r="r" b="b"/>
            <a:pathLst>
              <a:path w="619125" h="694689">
                <a:moveTo>
                  <a:pt x="607229" y="0"/>
                </a:moveTo>
                <a:lnTo>
                  <a:pt x="48897" y="0"/>
                </a:lnTo>
                <a:lnTo>
                  <a:pt x="48897" y="7369"/>
                </a:lnTo>
                <a:lnTo>
                  <a:pt x="47400" y="10367"/>
                </a:lnTo>
                <a:lnTo>
                  <a:pt x="47400" y="16237"/>
                </a:lnTo>
                <a:lnTo>
                  <a:pt x="45903" y="22233"/>
                </a:lnTo>
                <a:lnTo>
                  <a:pt x="45903" y="29602"/>
                </a:lnTo>
                <a:lnTo>
                  <a:pt x="44407" y="35472"/>
                </a:lnTo>
                <a:lnTo>
                  <a:pt x="42910" y="44341"/>
                </a:lnTo>
                <a:lnTo>
                  <a:pt x="42910" y="62202"/>
                </a:lnTo>
                <a:lnTo>
                  <a:pt x="41413" y="72569"/>
                </a:lnTo>
                <a:lnTo>
                  <a:pt x="41413" y="84435"/>
                </a:lnTo>
                <a:lnTo>
                  <a:pt x="39916" y="94802"/>
                </a:lnTo>
                <a:lnTo>
                  <a:pt x="39916" y="109541"/>
                </a:lnTo>
                <a:lnTo>
                  <a:pt x="37047" y="119908"/>
                </a:lnTo>
                <a:lnTo>
                  <a:pt x="37047" y="133273"/>
                </a:lnTo>
                <a:lnTo>
                  <a:pt x="35550" y="146638"/>
                </a:lnTo>
                <a:lnTo>
                  <a:pt x="35550" y="161377"/>
                </a:lnTo>
                <a:lnTo>
                  <a:pt x="34053" y="174741"/>
                </a:lnTo>
                <a:lnTo>
                  <a:pt x="31060" y="204344"/>
                </a:lnTo>
                <a:lnTo>
                  <a:pt x="31060" y="220582"/>
                </a:lnTo>
                <a:lnTo>
                  <a:pt x="28066" y="235445"/>
                </a:lnTo>
                <a:lnTo>
                  <a:pt x="28066" y="251683"/>
                </a:lnTo>
                <a:lnTo>
                  <a:pt x="26694" y="268045"/>
                </a:lnTo>
                <a:lnTo>
                  <a:pt x="26694" y="284283"/>
                </a:lnTo>
                <a:lnTo>
                  <a:pt x="25197" y="300646"/>
                </a:lnTo>
                <a:lnTo>
                  <a:pt x="23700" y="318382"/>
                </a:lnTo>
                <a:lnTo>
                  <a:pt x="22203" y="334745"/>
                </a:lnTo>
                <a:lnTo>
                  <a:pt x="22203" y="350982"/>
                </a:lnTo>
                <a:lnTo>
                  <a:pt x="19209" y="383582"/>
                </a:lnTo>
                <a:lnTo>
                  <a:pt x="17712" y="398321"/>
                </a:lnTo>
                <a:lnTo>
                  <a:pt x="16216" y="416183"/>
                </a:lnTo>
                <a:lnTo>
                  <a:pt x="13347" y="430921"/>
                </a:lnTo>
                <a:lnTo>
                  <a:pt x="13347" y="447284"/>
                </a:lnTo>
                <a:lnTo>
                  <a:pt x="11850" y="462023"/>
                </a:lnTo>
                <a:lnTo>
                  <a:pt x="11850" y="478385"/>
                </a:lnTo>
                <a:lnTo>
                  <a:pt x="10353" y="491625"/>
                </a:lnTo>
                <a:lnTo>
                  <a:pt x="8856" y="507988"/>
                </a:lnTo>
                <a:lnTo>
                  <a:pt x="7359" y="522726"/>
                </a:lnTo>
                <a:lnTo>
                  <a:pt x="7359" y="537590"/>
                </a:lnTo>
                <a:lnTo>
                  <a:pt x="4365" y="564195"/>
                </a:lnTo>
                <a:lnTo>
                  <a:pt x="4365" y="601292"/>
                </a:lnTo>
                <a:lnTo>
                  <a:pt x="2993" y="613158"/>
                </a:lnTo>
                <a:lnTo>
                  <a:pt x="1496" y="623525"/>
                </a:lnTo>
                <a:lnTo>
                  <a:pt x="1496" y="633892"/>
                </a:lnTo>
                <a:lnTo>
                  <a:pt x="0" y="642760"/>
                </a:lnTo>
                <a:lnTo>
                  <a:pt x="0" y="691598"/>
                </a:lnTo>
                <a:lnTo>
                  <a:pt x="1496" y="694596"/>
                </a:lnTo>
                <a:lnTo>
                  <a:pt x="2993" y="690099"/>
                </a:lnTo>
                <a:lnTo>
                  <a:pt x="7359" y="687226"/>
                </a:lnTo>
                <a:lnTo>
                  <a:pt x="16216" y="678358"/>
                </a:lnTo>
                <a:lnTo>
                  <a:pt x="28066" y="672363"/>
                </a:lnTo>
                <a:lnTo>
                  <a:pt x="35550" y="667991"/>
                </a:lnTo>
                <a:lnTo>
                  <a:pt x="42910" y="663494"/>
                </a:lnTo>
                <a:lnTo>
                  <a:pt x="50394" y="658998"/>
                </a:lnTo>
                <a:lnTo>
                  <a:pt x="59251" y="654626"/>
                </a:lnTo>
                <a:lnTo>
                  <a:pt x="68107" y="647257"/>
                </a:lnTo>
                <a:lnTo>
                  <a:pt x="78460" y="642760"/>
                </a:lnTo>
                <a:lnTo>
                  <a:pt x="90311" y="638264"/>
                </a:lnTo>
                <a:lnTo>
                  <a:pt x="100664" y="632393"/>
                </a:lnTo>
                <a:lnTo>
                  <a:pt x="111017" y="625024"/>
                </a:lnTo>
                <a:lnTo>
                  <a:pt x="121495" y="619028"/>
                </a:lnTo>
                <a:lnTo>
                  <a:pt x="134718" y="613158"/>
                </a:lnTo>
                <a:lnTo>
                  <a:pt x="146568" y="607162"/>
                </a:lnTo>
                <a:lnTo>
                  <a:pt x="158418" y="599793"/>
                </a:lnTo>
                <a:lnTo>
                  <a:pt x="171765" y="592423"/>
                </a:lnTo>
                <a:lnTo>
                  <a:pt x="183615" y="584929"/>
                </a:lnTo>
                <a:lnTo>
                  <a:pt x="213303" y="570190"/>
                </a:lnTo>
                <a:lnTo>
                  <a:pt x="226650" y="561322"/>
                </a:lnTo>
                <a:lnTo>
                  <a:pt x="239997" y="553828"/>
                </a:lnTo>
                <a:lnTo>
                  <a:pt x="254717" y="546458"/>
                </a:lnTo>
                <a:lnTo>
                  <a:pt x="268064" y="539089"/>
                </a:lnTo>
                <a:lnTo>
                  <a:pt x="282908" y="531720"/>
                </a:lnTo>
                <a:lnTo>
                  <a:pt x="299248" y="524225"/>
                </a:lnTo>
                <a:lnTo>
                  <a:pt x="313968" y="516856"/>
                </a:lnTo>
                <a:lnTo>
                  <a:pt x="327315" y="507988"/>
                </a:lnTo>
                <a:lnTo>
                  <a:pt x="340662" y="500618"/>
                </a:lnTo>
                <a:lnTo>
                  <a:pt x="354009" y="491625"/>
                </a:lnTo>
                <a:lnTo>
                  <a:pt x="383572" y="476886"/>
                </a:lnTo>
                <a:lnTo>
                  <a:pt x="410266" y="462023"/>
                </a:lnTo>
                <a:lnTo>
                  <a:pt x="425110" y="454653"/>
                </a:lnTo>
                <a:lnTo>
                  <a:pt x="438457" y="447284"/>
                </a:lnTo>
                <a:lnTo>
                  <a:pt x="450307" y="439790"/>
                </a:lnTo>
                <a:lnTo>
                  <a:pt x="462158" y="432420"/>
                </a:lnTo>
                <a:lnTo>
                  <a:pt x="476877" y="426550"/>
                </a:lnTo>
                <a:lnTo>
                  <a:pt x="487355" y="419055"/>
                </a:lnTo>
                <a:lnTo>
                  <a:pt x="500577" y="413185"/>
                </a:lnTo>
                <a:lnTo>
                  <a:pt x="511055" y="407314"/>
                </a:lnTo>
                <a:lnTo>
                  <a:pt x="522905" y="402818"/>
                </a:lnTo>
                <a:lnTo>
                  <a:pt x="533259" y="396947"/>
                </a:lnTo>
                <a:lnTo>
                  <a:pt x="543612" y="390952"/>
                </a:lnTo>
                <a:lnTo>
                  <a:pt x="552469" y="385081"/>
                </a:lnTo>
                <a:lnTo>
                  <a:pt x="561325" y="382084"/>
                </a:lnTo>
                <a:lnTo>
                  <a:pt x="570306" y="376213"/>
                </a:lnTo>
                <a:lnTo>
                  <a:pt x="577666" y="373215"/>
                </a:lnTo>
                <a:lnTo>
                  <a:pt x="585025" y="368719"/>
                </a:lnTo>
                <a:lnTo>
                  <a:pt x="592510" y="367220"/>
                </a:lnTo>
                <a:lnTo>
                  <a:pt x="602863" y="358352"/>
                </a:lnTo>
                <a:lnTo>
                  <a:pt x="611720" y="355479"/>
                </a:lnTo>
                <a:lnTo>
                  <a:pt x="616210" y="352481"/>
                </a:lnTo>
                <a:lnTo>
                  <a:pt x="619079" y="352481"/>
                </a:lnTo>
                <a:lnTo>
                  <a:pt x="607229" y="0"/>
                </a:lnTo>
                <a:close/>
              </a:path>
            </a:pathLst>
          </a:custGeom>
          <a:solidFill>
            <a:srgbClr val="7993A8"/>
          </a:solidFill>
        </p:spPr>
        <p:txBody>
          <a:bodyPr wrap="square" lIns="0" tIns="0" rIns="0" bIns="0" rtlCol="0"/>
          <a:lstStyle/>
          <a:p>
            <a:endParaRPr/>
          </a:p>
        </p:txBody>
      </p:sp>
      <p:sp>
        <p:nvSpPr>
          <p:cNvPr id="8" name="object 8"/>
          <p:cNvSpPr/>
          <p:nvPr/>
        </p:nvSpPr>
        <p:spPr>
          <a:xfrm>
            <a:off x="5796249" y="3257454"/>
            <a:ext cx="342900" cy="363220"/>
          </a:xfrm>
          <a:custGeom>
            <a:avLst/>
            <a:gdLst/>
            <a:ahLst/>
            <a:cxnLst/>
            <a:rect l="l" t="t" r="r" b="b"/>
            <a:pathLst>
              <a:path w="342900" h="363220">
                <a:moveTo>
                  <a:pt x="342283" y="0"/>
                </a:moveTo>
                <a:lnTo>
                  <a:pt x="0" y="308062"/>
                </a:lnTo>
                <a:lnTo>
                  <a:pt x="16340" y="346571"/>
                </a:lnTo>
                <a:lnTo>
                  <a:pt x="71101" y="362862"/>
                </a:lnTo>
                <a:lnTo>
                  <a:pt x="342283" y="362862"/>
                </a:lnTo>
                <a:lnTo>
                  <a:pt x="151183" y="284364"/>
                </a:lnTo>
                <a:lnTo>
                  <a:pt x="337793" y="269557"/>
                </a:lnTo>
                <a:lnTo>
                  <a:pt x="342283" y="0"/>
                </a:lnTo>
                <a:close/>
              </a:path>
            </a:pathLst>
          </a:custGeom>
          <a:solidFill>
            <a:srgbClr val="584B4B"/>
          </a:solidFill>
        </p:spPr>
        <p:txBody>
          <a:bodyPr wrap="square" lIns="0" tIns="0" rIns="0" bIns="0" rtlCol="0"/>
          <a:lstStyle/>
          <a:p>
            <a:endParaRPr/>
          </a:p>
        </p:txBody>
      </p:sp>
      <p:sp>
        <p:nvSpPr>
          <p:cNvPr id="9" name="object 9"/>
          <p:cNvSpPr/>
          <p:nvPr/>
        </p:nvSpPr>
        <p:spPr>
          <a:xfrm>
            <a:off x="2441362" y="1620900"/>
            <a:ext cx="523240" cy="920115"/>
          </a:xfrm>
          <a:custGeom>
            <a:avLst/>
            <a:gdLst/>
            <a:ahLst/>
            <a:cxnLst/>
            <a:rect l="l" t="t" r="r" b="b"/>
            <a:pathLst>
              <a:path w="523239" h="920114">
                <a:moveTo>
                  <a:pt x="511024" y="0"/>
                </a:moveTo>
                <a:lnTo>
                  <a:pt x="0" y="35472"/>
                </a:lnTo>
                <a:lnTo>
                  <a:pt x="0" y="919699"/>
                </a:lnTo>
                <a:lnTo>
                  <a:pt x="522862" y="758297"/>
                </a:lnTo>
                <a:lnTo>
                  <a:pt x="511024" y="0"/>
                </a:lnTo>
                <a:close/>
              </a:path>
            </a:pathLst>
          </a:custGeom>
          <a:solidFill>
            <a:srgbClr val="B3B3B3"/>
          </a:solidFill>
        </p:spPr>
        <p:txBody>
          <a:bodyPr wrap="square" lIns="0" tIns="0" rIns="0" bIns="0" rtlCol="0"/>
          <a:lstStyle/>
          <a:p>
            <a:endParaRPr/>
          </a:p>
        </p:txBody>
      </p:sp>
      <p:sp>
        <p:nvSpPr>
          <p:cNvPr id="10" name="object 10"/>
          <p:cNvSpPr/>
          <p:nvPr/>
        </p:nvSpPr>
        <p:spPr>
          <a:xfrm>
            <a:off x="2799818" y="2045952"/>
            <a:ext cx="69850" cy="53340"/>
          </a:xfrm>
          <a:custGeom>
            <a:avLst/>
            <a:gdLst/>
            <a:ahLst/>
            <a:cxnLst/>
            <a:rect l="l" t="t" r="r" b="b"/>
            <a:pathLst>
              <a:path w="69850" h="53339">
                <a:moveTo>
                  <a:pt x="4440" y="0"/>
                </a:moveTo>
                <a:lnTo>
                  <a:pt x="0" y="31101"/>
                </a:lnTo>
                <a:lnTo>
                  <a:pt x="37022" y="53334"/>
                </a:lnTo>
                <a:lnTo>
                  <a:pt x="69616" y="42967"/>
                </a:lnTo>
                <a:lnTo>
                  <a:pt x="4440" y="0"/>
                </a:lnTo>
                <a:close/>
              </a:path>
            </a:pathLst>
          </a:custGeom>
          <a:solidFill>
            <a:srgbClr val="FFFF85"/>
          </a:solidFill>
        </p:spPr>
        <p:txBody>
          <a:bodyPr wrap="square" lIns="0" tIns="0" rIns="0" bIns="0" rtlCol="0"/>
          <a:lstStyle/>
          <a:p>
            <a:endParaRPr/>
          </a:p>
        </p:txBody>
      </p:sp>
      <p:sp>
        <p:nvSpPr>
          <p:cNvPr id="11" name="object 11"/>
          <p:cNvSpPr/>
          <p:nvPr/>
        </p:nvSpPr>
        <p:spPr>
          <a:xfrm>
            <a:off x="2867951" y="2099286"/>
            <a:ext cx="75565" cy="62230"/>
          </a:xfrm>
          <a:custGeom>
            <a:avLst/>
            <a:gdLst/>
            <a:ahLst/>
            <a:cxnLst/>
            <a:rect l="l" t="t" r="r" b="b"/>
            <a:pathLst>
              <a:path w="75564" h="62230">
                <a:moveTo>
                  <a:pt x="20731" y="0"/>
                </a:moveTo>
                <a:lnTo>
                  <a:pt x="0" y="8868"/>
                </a:lnTo>
                <a:lnTo>
                  <a:pt x="75541" y="62202"/>
                </a:lnTo>
                <a:lnTo>
                  <a:pt x="66660" y="11865"/>
                </a:lnTo>
                <a:lnTo>
                  <a:pt x="20731" y="0"/>
                </a:lnTo>
                <a:close/>
              </a:path>
            </a:pathLst>
          </a:custGeom>
          <a:solidFill>
            <a:srgbClr val="FFFF85"/>
          </a:solidFill>
        </p:spPr>
        <p:txBody>
          <a:bodyPr wrap="square" lIns="0" tIns="0" rIns="0" bIns="0" rtlCol="0"/>
          <a:lstStyle/>
          <a:p>
            <a:endParaRPr/>
          </a:p>
        </p:txBody>
      </p:sp>
      <p:sp>
        <p:nvSpPr>
          <p:cNvPr id="12" name="object 12"/>
          <p:cNvSpPr/>
          <p:nvPr/>
        </p:nvSpPr>
        <p:spPr>
          <a:xfrm>
            <a:off x="2441362" y="1731941"/>
            <a:ext cx="406400" cy="808990"/>
          </a:xfrm>
          <a:custGeom>
            <a:avLst/>
            <a:gdLst/>
            <a:ahLst/>
            <a:cxnLst/>
            <a:rect l="l" t="t" r="r" b="b"/>
            <a:pathLst>
              <a:path w="406400" h="808989">
                <a:moveTo>
                  <a:pt x="282914" y="0"/>
                </a:moveTo>
                <a:lnTo>
                  <a:pt x="0" y="109541"/>
                </a:lnTo>
                <a:lnTo>
                  <a:pt x="0" y="808659"/>
                </a:lnTo>
                <a:lnTo>
                  <a:pt x="359940" y="638388"/>
                </a:lnTo>
                <a:lnTo>
                  <a:pt x="383628" y="96301"/>
                </a:lnTo>
                <a:lnTo>
                  <a:pt x="398447" y="87433"/>
                </a:lnTo>
                <a:lnTo>
                  <a:pt x="405857" y="56332"/>
                </a:lnTo>
                <a:lnTo>
                  <a:pt x="282914" y="0"/>
                </a:lnTo>
                <a:close/>
              </a:path>
            </a:pathLst>
          </a:custGeom>
          <a:solidFill>
            <a:srgbClr val="8989A8"/>
          </a:solidFill>
        </p:spPr>
        <p:txBody>
          <a:bodyPr wrap="square" lIns="0" tIns="0" rIns="0" bIns="0" rtlCol="0"/>
          <a:lstStyle/>
          <a:p>
            <a:endParaRPr/>
          </a:p>
        </p:txBody>
      </p:sp>
      <p:sp>
        <p:nvSpPr>
          <p:cNvPr id="13" name="object 13"/>
          <p:cNvSpPr/>
          <p:nvPr/>
        </p:nvSpPr>
        <p:spPr>
          <a:xfrm>
            <a:off x="2441362" y="1828242"/>
            <a:ext cx="321945" cy="515620"/>
          </a:xfrm>
          <a:custGeom>
            <a:avLst/>
            <a:gdLst/>
            <a:ahLst/>
            <a:cxnLst/>
            <a:rect l="l" t="t" r="r" b="b"/>
            <a:pathLst>
              <a:path w="321944" h="515619">
                <a:moveTo>
                  <a:pt x="321421" y="0"/>
                </a:moveTo>
                <a:lnTo>
                  <a:pt x="0" y="100673"/>
                </a:lnTo>
                <a:lnTo>
                  <a:pt x="0" y="165873"/>
                </a:lnTo>
                <a:lnTo>
                  <a:pt x="162927" y="470891"/>
                </a:lnTo>
                <a:lnTo>
                  <a:pt x="314011" y="515357"/>
                </a:lnTo>
                <a:lnTo>
                  <a:pt x="321421" y="0"/>
                </a:lnTo>
                <a:close/>
              </a:path>
            </a:pathLst>
          </a:custGeom>
          <a:solidFill>
            <a:srgbClr val="5C5C73"/>
          </a:solidFill>
        </p:spPr>
        <p:txBody>
          <a:bodyPr wrap="square" lIns="0" tIns="0" rIns="0" bIns="0" rtlCol="0"/>
          <a:lstStyle/>
          <a:p>
            <a:endParaRPr/>
          </a:p>
        </p:txBody>
      </p:sp>
      <p:sp>
        <p:nvSpPr>
          <p:cNvPr id="14" name="object 14"/>
          <p:cNvSpPr/>
          <p:nvPr/>
        </p:nvSpPr>
        <p:spPr>
          <a:xfrm>
            <a:off x="2441362" y="2262162"/>
            <a:ext cx="219710" cy="153035"/>
          </a:xfrm>
          <a:custGeom>
            <a:avLst/>
            <a:gdLst/>
            <a:ahLst/>
            <a:cxnLst/>
            <a:rect l="l" t="t" r="r" b="b"/>
            <a:pathLst>
              <a:path w="219710" h="153035">
                <a:moveTo>
                  <a:pt x="189597" y="0"/>
                </a:moveTo>
                <a:lnTo>
                  <a:pt x="182187" y="23731"/>
                </a:lnTo>
                <a:lnTo>
                  <a:pt x="0" y="87433"/>
                </a:lnTo>
                <a:lnTo>
                  <a:pt x="0" y="152546"/>
                </a:lnTo>
                <a:lnTo>
                  <a:pt x="217738" y="60703"/>
                </a:lnTo>
                <a:lnTo>
                  <a:pt x="219222" y="16237"/>
                </a:lnTo>
                <a:lnTo>
                  <a:pt x="189597" y="0"/>
                </a:lnTo>
                <a:close/>
              </a:path>
            </a:pathLst>
          </a:custGeom>
          <a:solidFill>
            <a:srgbClr val="DEB891"/>
          </a:solidFill>
        </p:spPr>
        <p:txBody>
          <a:bodyPr wrap="square" lIns="0" tIns="0" rIns="0" bIns="0" rtlCol="0"/>
          <a:lstStyle/>
          <a:p>
            <a:endParaRPr/>
          </a:p>
        </p:txBody>
      </p:sp>
      <p:sp>
        <p:nvSpPr>
          <p:cNvPr id="15" name="object 15"/>
          <p:cNvSpPr/>
          <p:nvPr/>
        </p:nvSpPr>
        <p:spPr>
          <a:xfrm>
            <a:off x="2459136" y="2330235"/>
            <a:ext cx="75565" cy="58419"/>
          </a:xfrm>
          <a:custGeom>
            <a:avLst/>
            <a:gdLst/>
            <a:ahLst/>
            <a:cxnLst/>
            <a:rect l="l" t="t" r="r" b="b"/>
            <a:pathLst>
              <a:path w="75564" h="58419">
                <a:moveTo>
                  <a:pt x="75541" y="0"/>
                </a:moveTo>
                <a:lnTo>
                  <a:pt x="0" y="32600"/>
                </a:lnTo>
                <a:lnTo>
                  <a:pt x="0" y="57830"/>
                </a:lnTo>
                <a:lnTo>
                  <a:pt x="71098" y="23731"/>
                </a:lnTo>
                <a:lnTo>
                  <a:pt x="75541" y="0"/>
                </a:lnTo>
                <a:close/>
              </a:path>
            </a:pathLst>
          </a:custGeom>
          <a:solidFill>
            <a:srgbClr val="734017"/>
          </a:solidFill>
        </p:spPr>
        <p:txBody>
          <a:bodyPr wrap="square" lIns="0" tIns="0" rIns="0" bIns="0" rtlCol="0"/>
          <a:lstStyle/>
          <a:p>
            <a:endParaRPr/>
          </a:p>
        </p:txBody>
      </p:sp>
      <p:sp>
        <p:nvSpPr>
          <p:cNvPr id="16" name="object 16"/>
          <p:cNvSpPr/>
          <p:nvPr/>
        </p:nvSpPr>
        <p:spPr>
          <a:xfrm>
            <a:off x="2553934" y="2290266"/>
            <a:ext cx="86360" cy="52069"/>
          </a:xfrm>
          <a:custGeom>
            <a:avLst/>
            <a:gdLst/>
            <a:ahLst/>
            <a:cxnLst/>
            <a:rect l="l" t="t" r="r" b="b"/>
            <a:pathLst>
              <a:path w="86360" h="52069">
                <a:moveTo>
                  <a:pt x="84434" y="0"/>
                </a:moveTo>
                <a:lnTo>
                  <a:pt x="0" y="32600"/>
                </a:lnTo>
                <a:lnTo>
                  <a:pt x="0" y="51835"/>
                </a:lnTo>
                <a:lnTo>
                  <a:pt x="85906" y="17861"/>
                </a:lnTo>
                <a:lnTo>
                  <a:pt x="84434" y="0"/>
                </a:lnTo>
                <a:close/>
              </a:path>
            </a:pathLst>
          </a:custGeom>
          <a:solidFill>
            <a:srgbClr val="734017"/>
          </a:solidFill>
        </p:spPr>
        <p:txBody>
          <a:bodyPr wrap="square" lIns="0" tIns="0" rIns="0" bIns="0" rtlCol="0"/>
          <a:lstStyle/>
          <a:p>
            <a:endParaRPr/>
          </a:p>
        </p:txBody>
      </p:sp>
      <p:sp>
        <p:nvSpPr>
          <p:cNvPr id="17" name="object 17"/>
          <p:cNvSpPr/>
          <p:nvPr/>
        </p:nvSpPr>
        <p:spPr>
          <a:xfrm>
            <a:off x="2441362" y="1964514"/>
            <a:ext cx="197485" cy="398780"/>
          </a:xfrm>
          <a:custGeom>
            <a:avLst/>
            <a:gdLst/>
            <a:ahLst/>
            <a:cxnLst/>
            <a:rect l="l" t="t" r="r" b="b"/>
            <a:pathLst>
              <a:path w="197485" h="398780">
                <a:moveTo>
                  <a:pt x="26661" y="0"/>
                </a:moveTo>
                <a:lnTo>
                  <a:pt x="0" y="8868"/>
                </a:lnTo>
                <a:lnTo>
                  <a:pt x="0" y="398321"/>
                </a:lnTo>
                <a:lnTo>
                  <a:pt x="189597" y="316883"/>
                </a:lnTo>
                <a:lnTo>
                  <a:pt x="197006" y="63576"/>
                </a:lnTo>
                <a:lnTo>
                  <a:pt x="26661" y="0"/>
                </a:lnTo>
                <a:close/>
              </a:path>
            </a:pathLst>
          </a:custGeom>
          <a:solidFill>
            <a:srgbClr val="914D36"/>
          </a:solidFill>
        </p:spPr>
        <p:txBody>
          <a:bodyPr wrap="square" lIns="0" tIns="0" rIns="0" bIns="0" rtlCol="0"/>
          <a:lstStyle/>
          <a:p>
            <a:endParaRPr/>
          </a:p>
        </p:txBody>
      </p:sp>
      <p:sp>
        <p:nvSpPr>
          <p:cNvPr id="18" name="object 18"/>
          <p:cNvSpPr/>
          <p:nvPr/>
        </p:nvSpPr>
        <p:spPr>
          <a:xfrm>
            <a:off x="2441362" y="2060690"/>
            <a:ext cx="81915" cy="153035"/>
          </a:xfrm>
          <a:custGeom>
            <a:avLst/>
            <a:gdLst/>
            <a:ahLst/>
            <a:cxnLst/>
            <a:rect l="l" t="t" r="r" b="b"/>
            <a:pathLst>
              <a:path w="81914" h="153035">
                <a:moveTo>
                  <a:pt x="81467" y="0"/>
                </a:moveTo>
                <a:lnTo>
                  <a:pt x="0" y="23731"/>
                </a:lnTo>
                <a:lnTo>
                  <a:pt x="0" y="152633"/>
                </a:lnTo>
                <a:lnTo>
                  <a:pt x="72579" y="124405"/>
                </a:lnTo>
                <a:lnTo>
                  <a:pt x="81467" y="0"/>
                </a:lnTo>
                <a:close/>
              </a:path>
            </a:pathLst>
          </a:custGeom>
          <a:solidFill>
            <a:srgbClr val="FFA64D"/>
          </a:solidFill>
        </p:spPr>
        <p:txBody>
          <a:bodyPr wrap="square" lIns="0" tIns="0" rIns="0" bIns="0" rtlCol="0"/>
          <a:lstStyle/>
          <a:p>
            <a:endParaRPr/>
          </a:p>
        </p:txBody>
      </p:sp>
      <p:sp>
        <p:nvSpPr>
          <p:cNvPr id="19" name="object 19"/>
          <p:cNvSpPr/>
          <p:nvPr/>
        </p:nvSpPr>
        <p:spPr>
          <a:xfrm>
            <a:off x="2530235" y="2053321"/>
            <a:ext cx="77470" cy="123189"/>
          </a:xfrm>
          <a:custGeom>
            <a:avLst/>
            <a:gdLst/>
            <a:ahLst/>
            <a:cxnLst/>
            <a:rect l="l" t="t" r="r" b="b"/>
            <a:pathLst>
              <a:path w="77469" h="123189">
                <a:moveTo>
                  <a:pt x="39988" y="0"/>
                </a:moveTo>
                <a:lnTo>
                  <a:pt x="4443" y="7369"/>
                </a:lnTo>
                <a:lnTo>
                  <a:pt x="0" y="122906"/>
                </a:lnTo>
                <a:lnTo>
                  <a:pt x="77023" y="103671"/>
                </a:lnTo>
                <a:lnTo>
                  <a:pt x="39988" y="0"/>
                </a:lnTo>
                <a:close/>
              </a:path>
            </a:pathLst>
          </a:custGeom>
          <a:solidFill>
            <a:srgbClr val="FFA64D"/>
          </a:solidFill>
        </p:spPr>
        <p:txBody>
          <a:bodyPr wrap="square" lIns="0" tIns="0" rIns="0" bIns="0" rtlCol="0"/>
          <a:lstStyle/>
          <a:p>
            <a:endParaRPr/>
          </a:p>
        </p:txBody>
      </p:sp>
      <p:sp>
        <p:nvSpPr>
          <p:cNvPr id="20" name="object 20"/>
          <p:cNvSpPr/>
          <p:nvPr/>
        </p:nvSpPr>
        <p:spPr>
          <a:xfrm>
            <a:off x="2441362" y="2205830"/>
            <a:ext cx="73025" cy="135255"/>
          </a:xfrm>
          <a:custGeom>
            <a:avLst/>
            <a:gdLst/>
            <a:ahLst/>
            <a:cxnLst/>
            <a:rect l="l" t="t" r="r" b="b"/>
            <a:pathLst>
              <a:path w="73025" h="135255">
                <a:moveTo>
                  <a:pt x="72579" y="0"/>
                </a:moveTo>
                <a:lnTo>
                  <a:pt x="0" y="20734"/>
                </a:lnTo>
                <a:lnTo>
                  <a:pt x="0" y="134772"/>
                </a:lnTo>
                <a:lnTo>
                  <a:pt x="72579" y="102297"/>
                </a:lnTo>
                <a:lnTo>
                  <a:pt x="72579" y="0"/>
                </a:lnTo>
                <a:close/>
              </a:path>
            </a:pathLst>
          </a:custGeom>
          <a:solidFill>
            <a:srgbClr val="FFA64D"/>
          </a:solidFill>
        </p:spPr>
        <p:txBody>
          <a:bodyPr wrap="square" lIns="0" tIns="0" rIns="0" bIns="0" rtlCol="0"/>
          <a:lstStyle/>
          <a:p>
            <a:endParaRPr/>
          </a:p>
        </p:txBody>
      </p:sp>
      <p:sp>
        <p:nvSpPr>
          <p:cNvPr id="21" name="object 21"/>
          <p:cNvSpPr/>
          <p:nvPr/>
        </p:nvSpPr>
        <p:spPr>
          <a:xfrm>
            <a:off x="2530235" y="2170357"/>
            <a:ext cx="93345" cy="123189"/>
          </a:xfrm>
          <a:custGeom>
            <a:avLst/>
            <a:gdLst/>
            <a:ahLst/>
            <a:cxnLst/>
            <a:rect l="l" t="t" r="r" b="b"/>
            <a:pathLst>
              <a:path w="93344" h="123189">
                <a:moveTo>
                  <a:pt x="77023" y="0"/>
                </a:moveTo>
                <a:lnTo>
                  <a:pt x="0" y="28103"/>
                </a:lnTo>
                <a:lnTo>
                  <a:pt x="0" y="122906"/>
                </a:lnTo>
                <a:lnTo>
                  <a:pt x="93314" y="99174"/>
                </a:lnTo>
                <a:lnTo>
                  <a:pt x="88874" y="32600"/>
                </a:lnTo>
                <a:lnTo>
                  <a:pt x="77023" y="0"/>
                </a:lnTo>
                <a:close/>
              </a:path>
            </a:pathLst>
          </a:custGeom>
          <a:solidFill>
            <a:srgbClr val="FFA64D"/>
          </a:solidFill>
        </p:spPr>
        <p:txBody>
          <a:bodyPr wrap="square" lIns="0" tIns="0" rIns="0" bIns="0" rtlCol="0"/>
          <a:lstStyle/>
          <a:p>
            <a:endParaRPr/>
          </a:p>
        </p:txBody>
      </p:sp>
      <p:sp>
        <p:nvSpPr>
          <p:cNvPr id="22" name="object 22"/>
          <p:cNvSpPr/>
          <p:nvPr/>
        </p:nvSpPr>
        <p:spPr>
          <a:xfrm>
            <a:off x="2779074" y="1809007"/>
            <a:ext cx="77470" cy="565785"/>
          </a:xfrm>
          <a:custGeom>
            <a:avLst/>
            <a:gdLst/>
            <a:ahLst/>
            <a:cxnLst/>
            <a:rect l="l" t="t" r="r" b="b"/>
            <a:pathLst>
              <a:path w="77469" h="565785">
                <a:moveTo>
                  <a:pt x="51841" y="0"/>
                </a:moveTo>
                <a:lnTo>
                  <a:pt x="8893" y="17736"/>
                </a:lnTo>
                <a:lnTo>
                  <a:pt x="0" y="561322"/>
                </a:lnTo>
                <a:lnTo>
                  <a:pt x="53325" y="565694"/>
                </a:lnTo>
                <a:lnTo>
                  <a:pt x="77026" y="547957"/>
                </a:lnTo>
                <a:lnTo>
                  <a:pt x="38519" y="500493"/>
                </a:lnTo>
                <a:lnTo>
                  <a:pt x="51841" y="0"/>
                </a:lnTo>
                <a:close/>
              </a:path>
            </a:pathLst>
          </a:custGeom>
          <a:solidFill>
            <a:srgbClr val="B8B8D9"/>
          </a:solidFill>
        </p:spPr>
        <p:txBody>
          <a:bodyPr wrap="square" lIns="0" tIns="0" rIns="0" bIns="0" rtlCol="0"/>
          <a:lstStyle/>
          <a:p>
            <a:endParaRPr/>
          </a:p>
        </p:txBody>
      </p:sp>
      <p:sp>
        <p:nvSpPr>
          <p:cNvPr id="23" name="object 23"/>
          <p:cNvSpPr/>
          <p:nvPr/>
        </p:nvSpPr>
        <p:spPr>
          <a:xfrm>
            <a:off x="2804259" y="1859344"/>
            <a:ext cx="28575" cy="50800"/>
          </a:xfrm>
          <a:custGeom>
            <a:avLst/>
            <a:gdLst/>
            <a:ahLst/>
            <a:cxnLst/>
            <a:rect l="l" t="t" r="r" b="b"/>
            <a:pathLst>
              <a:path w="28575" h="50800">
                <a:moveTo>
                  <a:pt x="13334" y="0"/>
                </a:moveTo>
                <a:lnTo>
                  <a:pt x="0" y="17736"/>
                </a:lnTo>
                <a:lnTo>
                  <a:pt x="2968" y="50336"/>
                </a:lnTo>
                <a:lnTo>
                  <a:pt x="28141" y="42967"/>
                </a:lnTo>
                <a:lnTo>
                  <a:pt x="28141" y="4371"/>
                </a:lnTo>
                <a:lnTo>
                  <a:pt x="13334" y="0"/>
                </a:lnTo>
                <a:close/>
              </a:path>
            </a:pathLst>
          </a:custGeom>
          <a:solidFill>
            <a:srgbClr val="FF6600"/>
          </a:solidFill>
        </p:spPr>
        <p:txBody>
          <a:bodyPr wrap="square" lIns="0" tIns="0" rIns="0" bIns="0" rtlCol="0"/>
          <a:lstStyle/>
          <a:p>
            <a:endParaRPr/>
          </a:p>
        </p:txBody>
      </p:sp>
      <p:sp>
        <p:nvSpPr>
          <p:cNvPr id="24" name="object 24"/>
          <p:cNvSpPr/>
          <p:nvPr/>
        </p:nvSpPr>
        <p:spPr>
          <a:xfrm>
            <a:off x="2793893" y="1856346"/>
            <a:ext cx="26670" cy="59690"/>
          </a:xfrm>
          <a:custGeom>
            <a:avLst/>
            <a:gdLst/>
            <a:ahLst/>
            <a:cxnLst/>
            <a:rect l="l" t="t" r="r" b="b"/>
            <a:pathLst>
              <a:path w="26669" h="59689">
                <a:moveTo>
                  <a:pt x="22216" y="0"/>
                </a:moveTo>
                <a:lnTo>
                  <a:pt x="4440" y="7369"/>
                </a:lnTo>
                <a:lnTo>
                  <a:pt x="0" y="59204"/>
                </a:lnTo>
                <a:lnTo>
                  <a:pt x="22216" y="59204"/>
                </a:lnTo>
                <a:lnTo>
                  <a:pt x="26656" y="47338"/>
                </a:lnTo>
                <a:lnTo>
                  <a:pt x="14806" y="44466"/>
                </a:lnTo>
                <a:lnTo>
                  <a:pt x="14806" y="23731"/>
                </a:lnTo>
                <a:lnTo>
                  <a:pt x="22216" y="0"/>
                </a:lnTo>
                <a:close/>
              </a:path>
            </a:pathLst>
          </a:custGeom>
          <a:solidFill>
            <a:srgbClr val="000000"/>
          </a:solidFill>
        </p:spPr>
        <p:txBody>
          <a:bodyPr wrap="square" lIns="0" tIns="0" rIns="0" bIns="0" rtlCol="0"/>
          <a:lstStyle/>
          <a:p>
            <a:endParaRPr/>
          </a:p>
        </p:txBody>
      </p:sp>
      <p:sp>
        <p:nvSpPr>
          <p:cNvPr id="25" name="object 25"/>
          <p:cNvSpPr/>
          <p:nvPr/>
        </p:nvSpPr>
        <p:spPr>
          <a:xfrm>
            <a:off x="2804259" y="1940782"/>
            <a:ext cx="28575" cy="52069"/>
          </a:xfrm>
          <a:custGeom>
            <a:avLst/>
            <a:gdLst/>
            <a:ahLst/>
            <a:cxnLst/>
            <a:rect l="l" t="t" r="r" b="b"/>
            <a:pathLst>
              <a:path w="28575" h="52069">
                <a:moveTo>
                  <a:pt x="13334" y="0"/>
                </a:moveTo>
                <a:lnTo>
                  <a:pt x="0" y="17736"/>
                </a:lnTo>
                <a:lnTo>
                  <a:pt x="2968" y="51835"/>
                </a:lnTo>
                <a:lnTo>
                  <a:pt x="28141" y="42967"/>
                </a:lnTo>
                <a:lnTo>
                  <a:pt x="28141" y="4371"/>
                </a:lnTo>
                <a:lnTo>
                  <a:pt x="13334" y="0"/>
                </a:lnTo>
                <a:close/>
              </a:path>
            </a:pathLst>
          </a:custGeom>
          <a:solidFill>
            <a:srgbClr val="FF6600"/>
          </a:solidFill>
        </p:spPr>
        <p:txBody>
          <a:bodyPr wrap="square" lIns="0" tIns="0" rIns="0" bIns="0" rtlCol="0"/>
          <a:lstStyle/>
          <a:p>
            <a:endParaRPr/>
          </a:p>
        </p:txBody>
      </p:sp>
      <p:sp>
        <p:nvSpPr>
          <p:cNvPr id="26" name="object 26"/>
          <p:cNvSpPr/>
          <p:nvPr/>
        </p:nvSpPr>
        <p:spPr>
          <a:xfrm>
            <a:off x="2793893" y="1936285"/>
            <a:ext cx="29845" cy="60960"/>
          </a:xfrm>
          <a:custGeom>
            <a:avLst/>
            <a:gdLst/>
            <a:ahLst/>
            <a:cxnLst/>
            <a:rect l="l" t="t" r="r" b="b"/>
            <a:pathLst>
              <a:path w="29844" h="60960">
                <a:moveTo>
                  <a:pt x="22216" y="0"/>
                </a:moveTo>
                <a:lnTo>
                  <a:pt x="4440" y="7494"/>
                </a:lnTo>
                <a:lnTo>
                  <a:pt x="0" y="60703"/>
                </a:lnTo>
                <a:lnTo>
                  <a:pt x="22216" y="60703"/>
                </a:lnTo>
                <a:lnTo>
                  <a:pt x="29625" y="48962"/>
                </a:lnTo>
                <a:lnTo>
                  <a:pt x="14806" y="44466"/>
                </a:lnTo>
                <a:lnTo>
                  <a:pt x="14806" y="23731"/>
                </a:lnTo>
                <a:lnTo>
                  <a:pt x="22216" y="0"/>
                </a:lnTo>
                <a:close/>
              </a:path>
            </a:pathLst>
          </a:custGeom>
          <a:solidFill>
            <a:srgbClr val="000000"/>
          </a:solidFill>
        </p:spPr>
        <p:txBody>
          <a:bodyPr wrap="square" lIns="0" tIns="0" rIns="0" bIns="0" rtlCol="0"/>
          <a:lstStyle/>
          <a:p>
            <a:endParaRPr/>
          </a:p>
        </p:txBody>
      </p:sp>
      <p:sp>
        <p:nvSpPr>
          <p:cNvPr id="27" name="object 27"/>
          <p:cNvSpPr/>
          <p:nvPr/>
        </p:nvSpPr>
        <p:spPr>
          <a:xfrm>
            <a:off x="2947934" y="1660870"/>
            <a:ext cx="1272540" cy="693420"/>
          </a:xfrm>
          <a:custGeom>
            <a:avLst/>
            <a:gdLst/>
            <a:ahLst/>
            <a:cxnLst/>
            <a:rect l="l" t="t" r="r" b="b"/>
            <a:pathLst>
              <a:path w="1272539" h="693419">
                <a:moveTo>
                  <a:pt x="1045712" y="0"/>
                </a:moveTo>
                <a:lnTo>
                  <a:pt x="13334" y="654626"/>
                </a:lnTo>
                <a:lnTo>
                  <a:pt x="0" y="693097"/>
                </a:lnTo>
                <a:lnTo>
                  <a:pt x="1272362" y="296149"/>
                </a:lnTo>
                <a:lnTo>
                  <a:pt x="1045712" y="0"/>
                </a:lnTo>
                <a:close/>
              </a:path>
            </a:pathLst>
          </a:custGeom>
          <a:solidFill>
            <a:srgbClr val="584B4B"/>
          </a:solidFill>
        </p:spPr>
        <p:txBody>
          <a:bodyPr wrap="square" lIns="0" tIns="0" rIns="0" bIns="0" rtlCol="0"/>
          <a:lstStyle/>
          <a:p>
            <a:endParaRPr/>
          </a:p>
        </p:txBody>
      </p:sp>
      <p:sp>
        <p:nvSpPr>
          <p:cNvPr id="28" name="object 28"/>
          <p:cNvSpPr/>
          <p:nvPr/>
        </p:nvSpPr>
        <p:spPr>
          <a:xfrm>
            <a:off x="2441362" y="1443161"/>
            <a:ext cx="1753870" cy="883285"/>
          </a:xfrm>
          <a:custGeom>
            <a:avLst/>
            <a:gdLst/>
            <a:ahLst/>
            <a:cxnLst/>
            <a:rect l="l" t="t" r="r" b="b"/>
            <a:pathLst>
              <a:path w="1753870" h="883285">
                <a:moveTo>
                  <a:pt x="1745508" y="189480"/>
                </a:moveTo>
                <a:lnTo>
                  <a:pt x="511024" y="189480"/>
                </a:lnTo>
                <a:lnTo>
                  <a:pt x="503615" y="882702"/>
                </a:lnTo>
                <a:lnTo>
                  <a:pt x="1753737" y="273916"/>
                </a:lnTo>
                <a:lnTo>
                  <a:pt x="1745508" y="189480"/>
                </a:lnTo>
                <a:close/>
              </a:path>
              <a:path w="1753870" h="883285">
                <a:moveTo>
                  <a:pt x="1727043" y="0"/>
                </a:moveTo>
                <a:lnTo>
                  <a:pt x="0" y="0"/>
                </a:lnTo>
                <a:lnTo>
                  <a:pt x="0" y="359850"/>
                </a:lnTo>
                <a:lnTo>
                  <a:pt x="511024" y="189480"/>
                </a:lnTo>
                <a:lnTo>
                  <a:pt x="1745508" y="189480"/>
                </a:lnTo>
                <a:lnTo>
                  <a:pt x="1727043" y="0"/>
                </a:lnTo>
                <a:close/>
              </a:path>
            </a:pathLst>
          </a:custGeom>
          <a:solidFill>
            <a:srgbClr val="756969"/>
          </a:solidFill>
        </p:spPr>
        <p:txBody>
          <a:bodyPr wrap="square" lIns="0" tIns="0" rIns="0" bIns="0" rtlCol="0"/>
          <a:lstStyle/>
          <a:p>
            <a:endParaRPr/>
          </a:p>
        </p:txBody>
      </p:sp>
      <p:sp>
        <p:nvSpPr>
          <p:cNvPr id="29" name="object 29"/>
          <p:cNvSpPr/>
          <p:nvPr/>
        </p:nvSpPr>
        <p:spPr>
          <a:xfrm>
            <a:off x="4279548" y="2065187"/>
            <a:ext cx="914400" cy="598805"/>
          </a:xfrm>
          <a:custGeom>
            <a:avLst/>
            <a:gdLst/>
            <a:ahLst/>
            <a:cxnLst/>
            <a:rect l="l" t="t" r="r" b="b"/>
            <a:pathLst>
              <a:path w="914400" h="598805">
                <a:moveTo>
                  <a:pt x="857580" y="0"/>
                </a:moveTo>
                <a:lnTo>
                  <a:pt x="0" y="579096"/>
                </a:lnTo>
                <a:lnTo>
                  <a:pt x="585025" y="598344"/>
                </a:lnTo>
                <a:lnTo>
                  <a:pt x="585025" y="565769"/>
                </a:lnTo>
                <a:lnTo>
                  <a:pt x="128855" y="549469"/>
                </a:lnTo>
                <a:lnTo>
                  <a:pt x="327315" y="442837"/>
                </a:lnTo>
                <a:lnTo>
                  <a:pt x="517808" y="442837"/>
                </a:lnTo>
                <a:lnTo>
                  <a:pt x="556959" y="399883"/>
                </a:lnTo>
                <a:lnTo>
                  <a:pt x="909185" y="399883"/>
                </a:lnTo>
                <a:lnTo>
                  <a:pt x="857580" y="0"/>
                </a:lnTo>
                <a:close/>
              </a:path>
              <a:path w="914400" h="598805">
                <a:moveTo>
                  <a:pt x="517808" y="442837"/>
                </a:moveTo>
                <a:lnTo>
                  <a:pt x="327315" y="442837"/>
                </a:lnTo>
                <a:lnTo>
                  <a:pt x="496211" y="466532"/>
                </a:lnTo>
                <a:lnTo>
                  <a:pt x="517808" y="442837"/>
                </a:lnTo>
                <a:close/>
              </a:path>
              <a:path w="914400" h="598805">
                <a:moveTo>
                  <a:pt x="909185" y="399883"/>
                </a:moveTo>
                <a:lnTo>
                  <a:pt x="556959" y="399883"/>
                </a:lnTo>
                <a:lnTo>
                  <a:pt x="913962" y="436904"/>
                </a:lnTo>
                <a:lnTo>
                  <a:pt x="909185" y="399883"/>
                </a:lnTo>
                <a:close/>
              </a:path>
            </a:pathLst>
          </a:custGeom>
          <a:solidFill>
            <a:srgbClr val="584B4B"/>
          </a:solidFill>
        </p:spPr>
        <p:txBody>
          <a:bodyPr wrap="square" lIns="0" tIns="0" rIns="0" bIns="0" rtlCol="0"/>
          <a:lstStyle/>
          <a:p>
            <a:endParaRPr/>
          </a:p>
        </p:txBody>
      </p:sp>
      <p:sp>
        <p:nvSpPr>
          <p:cNvPr id="30" name="object 30"/>
          <p:cNvSpPr/>
          <p:nvPr/>
        </p:nvSpPr>
        <p:spPr>
          <a:xfrm>
            <a:off x="3766995" y="1490500"/>
            <a:ext cx="1390015" cy="1130300"/>
          </a:xfrm>
          <a:custGeom>
            <a:avLst/>
            <a:gdLst/>
            <a:ahLst/>
            <a:cxnLst/>
            <a:rect l="l" t="t" r="r" b="b"/>
            <a:pathLst>
              <a:path w="1390014" h="1130300">
                <a:moveTo>
                  <a:pt x="1389467" y="0"/>
                </a:moveTo>
                <a:lnTo>
                  <a:pt x="171890" y="193977"/>
                </a:lnTo>
                <a:lnTo>
                  <a:pt x="0" y="293276"/>
                </a:lnTo>
                <a:lnTo>
                  <a:pt x="389559" y="543586"/>
                </a:lnTo>
                <a:lnTo>
                  <a:pt x="8981" y="799766"/>
                </a:lnTo>
                <a:lnTo>
                  <a:pt x="519912" y="1130089"/>
                </a:lnTo>
                <a:lnTo>
                  <a:pt x="1371630" y="577685"/>
                </a:lnTo>
                <a:lnTo>
                  <a:pt x="1389467" y="0"/>
                </a:lnTo>
                <a:close/>
              </a:path>
            </a:pathLst>
          </a:custGeom>
          <a:solidFill>
            <a:srgbClr val="7993A8"/>
          </a:solidFill>
        </p:spPr>
        <p:txBody>
          <a:bodyPr wrap="square" lIns="0" tIns="0" rIns="0" bIns="0" rtlCol="0"/>
          <a:lstStyle/>
          <a:p>
            <a:endParaRPr/>
          </a:p>
        </p:txBody>
      </p:sp>
      <p:sp>
        <p:nvSpPr>
          <p:cNvPr id="31" name="object 31"/>
          <p:cNvSpPr/>
          <p:nvPr/>
        </p:nvSpPr>
        <p:spPr>
          <a:xfrm>
            <a:off x="3866287" y="1443161"/>
            <a:ext cx="746760" cy="483234"/>
          </a:xfrm>
          <a:custGeom>
            <a:avLst/>
            <a:gdLst/>
            <a:ahLst/>
            <a:cxnLst/>
            <a:rect l="l" t="t" r="r" b="b"/>
            <a:pathLst>
              <a:path w="746760" h="483235">
                <a:moveTo>
                  <a:pt x="730651" y="220582"/>
                </a:moveTo>
                <a:lnTo>
                  <a:pt x="312595" y="220582"/>
                </a:lnTo>
                <a:lnTo>
                  <a:pt x="312595" y="416183"/>
                </a:lnTo>
                <a:lnTo>
                  <a:pt x="466523" y="482757"/>
                </a:lnTo>
                <a:lnTo>
                  <a:pt x="746563" y="241316"/>
                </a:lnTo>
                <a:lnTo>
                  <a:pt x="730651" y="220582"/>
                </a:lnTo>
                <a:close/>
              </a:path>
              <a:path w="746760" h="483235">
                <a:moveTo>
                  <a:pt x="336296" y="0"/>
                </a:moveTo>
                <a:lnTo>
                  <a:pt x="165902" y="0"/>
                </a:lnTo>
                <a:lnTo>
                  <a:pt x="165902" y="62202"/>
                </a:lnTo>
                <a:lnTo>
                  <a:pt x="0" y="111040"/>
                </a:lnTo>
                <a:lnTo>
                  <a:pt x="51891" y="229575"/>
                </a:lnTo>
                <a:lnTo>
                  <a:pt x="312595" y="220582"/>
                </a:lnTo>
                <a:lnTo>
                  <a:pt x="730651" y="220582"/>
                </a:lnTo>
                <a:lnTo>
                  <a:pt x="697775" y="177739"/>
                </a:lnTo>
                <a:lnTo>
                  <a:pt x="336296" y="177739"/>
                </a:lnTo>
                <a:lnTo>
                  <a:pt x="336296" y="0"/>
                </a:lnTo>
                <a:close/>
              </a:path>
              <a:path w="746760" h="483235">
                <a:moveTo>
                  <a:pt x="693174" y="171744"/>
                </a:moveTo>
                <a:lnTo>
                  <a:pt x="336296" y="177739"/>
                </a:lnTo>
                <a:lnTo>
                  <a:pt x="697775" y="177739"/>
                </a:lnTo>
                <a:lnTo>
                  <a:pt x="693174" y="171744"/>
                </a:lnTo>
                <a:close/>
              </a:path>
            </a:pathLst>
          </a:custGeom>
          <a:solidFill>
            <a:srgbClr val="E68033"/>
          </a:solidFill>
        </p:spPr>
        <p:txBody>
          <a:bodyPr wrap="square" lIns="0" tIns="0" rIns="0" bIns="0" rtlCol="0"/>
          <a:lstStyle/>
          <a:p>
            <a:endParaRPr/>
          </a:p>
        </p:txBody>
      </p:sp>
      <p:sp>
        <p:nvSpPr>
          <p:cNvPr id="32" name="object 32"/>
          <p:cNvSpPr/>
          <p:nvPr/>
        </p:nvSpPr>
        <p:spPr>
          <a:xfrm>
            <a:off x="3894478" y="1875581"/>
            <a:ext cx="788035" cy="386715"/>
          </a:xfrm>
          <a:custGeom>
            <a:avLst/>
            <a:gdLst/>
            <a:ahLst/>
            <a:cxnLst/>
            <a:rect l="l" t="t" r="r" b="b"/>
            <a:pathLst>
              <a:path w="788035" h="386714">
                <a:moveTo>
                  <a:pt x="97670" y="97800"/>
                </a:moveTo>
                <a:lnTo>
                  <a:pt x="0" y="165873"/>
                </a:lnTo>
                <a:lnTo>
                  <a:pt x="216172" y="386580"/>
                </a:lnTo>
                <a:lnTo>
                  <a:pt x="787976" y="208840"/>
                </a:lnTo>
                <a:lnTo>
                  <a:pt x="784979" y="192603"/>
                </a:lnTo>
                <a:lnTo>
                  <a:pt x="364362" y="192603"/>
                </a:lnTo>
                <a:lnTo>
                  <a:pt x="97670" y="97800"/>
                </a:lnTo>
                <a:close/>
              </a:path>
              <a:path w="788035" h="386714">
                <a:moveTo>
                  <a:pt x="749432" y="0"/>
                </a:moveTo>
                <a:lnTo>
                  <a:pt x="364362" y="192603"/>
                </a:lnTo>
                <a:lnTo>
                  <a:pt x="784979" y="192603"/>
                </a:lnTo>
                <a:lnTo>
                  <a:pt x="749432" y="0"/>
                </a:lnTo>
                <a:close/>
              </a:path>
            </a:pathLst>
          </a:custGeom>
          <a:solidFill>
            <a:srgbClr val="E68033"/>
          </a:solidFill>
        </p:spPr>
        <p:txBody>
          <a:bodyPr wrap="square" lIns="0" tIns="0" rIns="0" bIns="0" rtlCol="0"/>
          <a:lstStyle/>
          <a:p>
            <a:endParaRPr/>
          </a:p>
        </p:txBody>
      </p:sp>
      <p:sp>
        <p:nvSpPr>
          <p:cNvPr id="33" name="object 33"/>
          <p:cNvSpPr/>
          <p:nvPr/>
        </p:nvSpPr>
        <p:spPr>
          <a:xfrm>
            <a:off x="3766995" y="1443161"/>
            <a:ext cx="158750" cy="863600"/>
          </a:xfrm>
          <a:custGeom>
            <a:avLst/>
            <a:gdLst/>
            <a:ahLst/>
            <a:cxnLst/>
            <a:rect l="l" t="t" r="r" b="b"/>
            <a:pathLst>
              <a:path w="158750" h="863600">
                <a:moveTo>
                  <a:pt x="32681" y="0"/>
                </a:moveTo>
                <a:lnTo>
                  <a:pt x="0" y="0"/>
                </a:lnTo>
                <a:lnTo>
                  <a:pt x="5987" y="863467"/>
                </a:lnTo>
                <a:lnTo>
                  <a:pt x="131849" y="847104"/>
                </a:lnTo>
                <a:lnTo>
                  <a:pt x="131849" y="835239"/>
                </a:lnTo>
                <a:lnTo>
                  <a:pt x="35550" y="835239"/>
                </a:lnTo>
                <a:lnTo>
                  <a:pt x="40041" y="368719"/>
                </a:lnTo>
                <a:lnTo>
                  <a:pt x="142198" y="340615"/>
                </a:lnTo>
                <a:lnTo>
                  <a:pt x="35550" y="340615"/>
                </a:lnTo>
                <a:lnTo>
                  <a:pt x="32681" y="0"/>
                </a:lnTo>
                <a:close/>
              </a:path>
              <a:path w="158750" h="863600">
                <a:moveTo>
                  <a:pt x="131849" y="816003"/>
                </a:moveTo>
                <a:lnTo>
                  <a:pt x="35550" y="835239"/>
                </a:lnTo>
                <a:lnTo>
                  <a:pt x="131849" y="835239"/>
                </a:lnTo>
                <a:lnTo>
                  <a:pt x="131849" y="816003"/>
                </a:lnTo>
                <a:close/>
              </a:path>
              <a:path w="158750" h="863600">
                <a:moveTo>
                  <a:pt x="115633" y="316883"/>
                </a:moveTo>
                <a:lnTo>
                  <a:pt x="35550" y="340615"/>
                </a:lnTo>
                <a:lnTo>
                  <a:pt x="142198" y="340615"/>
                </a:lnTo>
                <a:lnTo>
                  <a:pt x="158543" y="336119"/>
                </a:lnTo>
                <a:lnTo>
                  <a:pt x="115633" y="316883"/>
                </a:lnTo>
                <a:close/>
              </a:path>
            </a:pathLst>
          </a:custGeom>
          <a:solidFill>
            <a:srgbClr val="628091"/>
          </a:solidFill>
        </p:spPr>
        <p:txBody>
          <a:bodyPr wrap="square" lIns="0" tIns="0" rIns="0" bIns="0" rtlCol="0"/>
          <a:lstStyle/>
          <a:p>
            <a:endParaRPr/>
          </a:p>
        </p:txBody>
      </p:sp>
      <p:sp>
        <p:nvSpPr>
          <p:cNvPr id="34" name="object 34"/>
          <p:cNvSpPr/>
          <p:nvPr/>
        </p:nvSpPr>
        <p:spPr>
          <a:xfrm>
            <a:off x="3889987" y="2037083"/>
            <a:ext cx="260985" cy="431165"/>
          </a:xfrm>
          <a:custGeom>
            <a:avLst/>
            <a:gdLst/>
            <a:ahLst/>
            <a:cxnLst/>
            <a:rect l="l" t="t" r="r" b="b"/>
            <a:pathLst>
              <a:path w="260985" h="431164">
                <a:moveTo>
                  <a:pt x="0" y="0"/>
                </a:moveTo>
                <a:lnTo>
                  <a:pt x="8856" y="272417"/>
                </a:lnTo>
                <a:lnTo>
                  <a:pt x="245860" y="430946"/>
                </a:lnTo>
                <a:lnTo>
                  <a:pt x="260704" y="146638"/>
                </a:lnTo>
                <a:lnTo>
                  <a:pt x="0" y="0"/>
                </a:lnTo>
                <a:close/>
              </a:path>
            </a:pathLst>
          </a:custGeom>
          <a:solidFill>
            <a:srgbClr val="FFCC80"/>
          </a:solidFill>
        </p:spPr>
        <p:txBody>
          <a:bodyPr wrap="square" lIns="0" tIns="0" rIns="0" bIns="0" rtlCol="0"/>
          <a:lstStyle/>
          <a:p>
            <a:endParaRPr/>
          </a:p>
        </p:txBody>
      </p:sp>
      <p:sp>
        <p:nvSpPr>
          <p:cNvPr id="35" name="object 35"/>
          <p:cNvSpPr/>
          <p:nvPr/>
        </p:nvSpPr>
        <p:spPr>
          <a:xfrm>
            <a:off x="3858928" y="1558698"/>
            <a:ext cx="208915" cy="300990"/>
          </a:xfrm>
          <a:custGeom>
            <a:avLst/>
            <a:gdLst/>
            <a:ahLst/>
            <a:cxnLst/>
            <a:rect l="l" t="t" r="r" b="b"/>
            <a:pathLst>
              <a:path w="208914" h="300989">
                <a:moveTo>
                  <a:pt x="0" y="0"/>
                </a:moveTo>
                <a:lnTo>
                  <a:pt x="0" y="204344"/>
                </a:lnTo>
                <a:lnTo>
                  <a:pt x="208813" y="300646"/>
                </a:lnTo>
                <a:lnTo>
                  <a:pt x="208813" y="78440"/>
                </a:lnTo>
                <a:lnTo>
                  <a:pt x="0" y="0"/>
                </a:lnTo>
                <a:close/>
              </a:path>
            </a:pathLst>
          </a:custGeom>
          <a:solidFill>
            <a:srgbClr val="FFCC80"/>
          </a:solidFill>
        </p:spPr>
        <p:txBody>
          <a:bodyPr wrap="square" lIns="0" tIns="0" rIns="0" bIns="0" rtlCol="0"/>
          <a:lstStyle/>
          <a:p>
            <a:endParaRPr/>
          </a:p>
        </p:txBody>
      </p:sp>
      <p:sp>
        <p:nvSpPr>
          <p:cNvPr id="36" name="object 36"/>
          <p:cNvSpPr/>
          <p:nvPr/>
        </p:nvSpPr>
        <p:spPr>
          <a:xfrm>
            <a:off x="4263207" y="1708209"/>
            <a:ext cx="117475" cy="237490"/>
          </a:xfrm>
          <a:custGeom>
            <a:avLst/>
            <a:gdLst/>
            <a:ahLst/>
            <a:cxnLst/>
            <a:rect l="l" t="t" r="r" b="b"/>
            <a:pathLst>
              <a:path w="117475" h="237489">
                <a:moveTo>
                  <a:pt x="0" y="0"/>
                </a:moveTo>
                <a:lnTo>
                  <a:pt x="0" y="188106"/>
                </a:lnTo>
                <a:lnTo>
                  <a:pt x="117005" y="236944"/>
                </a:lnTo>
                <a:lnTo>
                  <a:pt x="117005" y="54833"/>
                </a:lnTo>
                <a:lnTo>
                  <a:pt x="0" y="0"/>
                </a:lnTo>
                <a:close/>
              </a:path>
            </a:pathLst>
          </a:custGeom>
          <a:solidFill>
            <a:srgbClr val="FFCC80"/>
          </a:solidFill>
        </p:spPr>
        <p:txBody>
          <a:bodyPr wrap="square" lIns="0" tIns="0" rIns="0" bIns="0" rtlCol="0"/>
          <a:lstStyle/>
          <a:p>
            <a:endParaRPr/>
          </a:p>
        </p:txBody>
      </p:sp>
      <p:sp>
        <p:nvSpPr>
          <p:cNvPr id="37" name="object 37"/>
          <p:cNvSpPr/>
          <p:nvPr/>
        </p:nvSpPr>
        <p:spPr>
          <a:xfrm>
            <a:off x="4060381" y="1443161"/>
            <a:ext cx="1105535" cy="511175"/>
          </a:xfrm>
          <a:custGeom>
            <a:avLst/>
            <a:gdLst/>
            <a:ahLst/>
            <a:cxnLst/>
            <a:rect l="l" t="t" r="r" b="b"/>
            <a:pathLst>
              <a:path w="1105535" h="511175">
                <a:moveTo>
                  <a:pt x="873461" y="189480"/>
                </a:moveTo>
                <a:lnTo>
                  <a:pt x="297627" y="189480"/>
                </a:lnTo>
                <a:lnTo>
                  <a:pt x="468020" y="260676"/>
                </a:lnTo>
                <a:lnTo>
                  <a:pt x="312471" y="324378"/>
                </a:lnTo>
                <a:lnTo>
                  <a:pt x="312471" y="510985"/>
                </a:lnTo>
                <a:lnTo>
                  <a:pt x="499080" y="416183"/>
                </a:lnTo>
                <a:lnTo>
                  <a:pt x="499080" y="336119"/>
                </a:lnTo>
                <a:lnTo>
                  <a:pt x="627792" y="336119"/>
                </a:lnTo>
                <a:lnTo>
                  <a:pt x="873461" y="189480"/>
                </a:lnTo>
                <a:close/>
              </a:path>
              <a:path w="1105535" h="511175">
                <a:moveTo>
                  <a:pt x="1104938" y="0"/>
                </a:moveTo>
                <a:lnTo>
                  <a:pt x="90311" y="0"/>
                </a:lnTo>
                <a:lnTo>
                  <a:pt x="90311" y="140642"/>
                </a:lnTo>
                <a:lnTo>
                  <a:pt x="0" y="188106"/>
                </a:lnTo>
                <a:lnTo>
                  <a:pt x="0" y="422053"/>
                </a:lnTo>
                <a:lnTo>
                  <a:pt x="118502" y="392451"/>
                </a:lnTo>
                <a:lnTo>
                  <a:pt x="139208" y="244313"/>
                </a:lnTo>
                <a:lnTo>
                  <a:pt x="297627" y="189480"/>
                </a:lnTo>
                <a:lnTo>
                  <a:pt x="873461" y="189480"/>
                </a:lnTo>
                <a:lnTo>
                  <a:pt x="893131" y="177739"/>
                </a:lnTo>
                <a:lnTo>
                  <a:pt x="893131" y="127278"/>
                </a:lnTo>
                <a:lnTo>
                  <a:pt x="1017082" y="127278"/>
                </a:lnTo>
                <a:lnTo>
                  <a:pt x="1104938" y="91805"/>
                </a:lnTo>
                <a:lnTo>
                  <a:pt x="1104938" y="0"/>
                </a:lnTo>
                <a:close/>
              </a:path>
              <a:path w="1105535" h="511175">
                <a:moveTo>
                  <a:pt x="627792" y="336119"/>
                </a:moveTo>
                <a:lnTo>
                  <a:pt x="499080" y="336119"/>
                </a:lnTo>
                <a:lnTo>
                  <a:pt x="573175" y="368719"/>
                </a:lnTo>
                <a:lnTo>
                  <a:pt x="627792" y="336119"/>
                </a:lnTo>
                <a:close/>
              </a:path>
              <a:path w="1105535" h="511175">
                <a:moveTo>
                  <a:pt x="1017082" y="127278"/>
                </a:moveTo>
                <a:lnTo>
                  <a:pt x="893131" y="127278"/>
                </a:lnTo>
                <a:lnTo>
                  <a:pt x="965729" y="148012"/>
                </a:lnTo>
                <a:lnTo>
                  <a:pt x="1017082" y="127278"/>
                </a:lnTo>
                <a:close/>
              </a:path>
            </a:pathLst>
          </a:custGeom>
          <a:solidFill>
            <a:srgbClr val="914D36"/>
          </a:solidFill>
        </p:spPr>
        <p:txBody>
          <a:bodyPr wrap="square" lIns="0" tIns="0" rIns="0" bIns="0" rtlCol="0"/>
          <a:lstStyle/>
          <a:p>
            <a:endParaRPr/>
          </a:p>
        </p:txBody>
      </p:sp>
      <p:sp>
        <p:nvSpPr>
          <p:cNvPr id="38" name="object 38"/>
          <p:cNvSpPr/>
          <p:nvPr/>
        </p:nvSpPr>
        <p:spPr>
          <a:xfrm>
            <a:off x="3974436" y="1708209"/>
            <a:ext cx="1155700" cy="756920"/>
          </a:xfrm>
          <a:custGeom>
            <a:avLst/>
            <a:gdLst/>
            <a:ahLst/>
            <a:cxnLst/>
            <a:rect l="l" t="t" r="r" b="b"/>
            <a:pathLst>
              <a:path w="1155700" h="756919">
                <a:moveTo>
                  <a:pt x="47400" y="250309"/>
                </a:moveTo>
                <a:lnTo>
                  <a:pt x="0" y="269544"/>
                </a:lnTo>
                <a:lnTo>
                  <a:pt x="220663" y="420679"/>
                </a:lnTo>
                <a:lnTo>
                  <a:pt x="152555" y="468018"/>
                </a:lnTo>
                <a:lnTo>
                  <a:pt x="152555" y="756861"/>
                </a:lnTo>
                <a:lnTo>
                  <a:pt x="348021" y="633892"/>
                </a:lnTo>
                <a:lnTo>
                  <a:pt x="665921" y="633892"/>
                </a:lnTo>
                <a:lnTo>
                  <a:pt x="722862" y="598419"/>
                </a:lnTo>
                <a:lnTo>
                  <a:pt x="739078" y="527348"/>
                </a:lnTo>
                <a:lnTo>
                  <a:pt x="819041" y="527348"/>
                </a:lnTo>
                <a:lnTo>
                  <a:pt x="983567" y="408813"/>
                </a:lnTo>
                <a:lnTo>
                  <a:pt x="1032180" y="380710"/>
                </a:lnTo>
                <a:lnTo>
                  <a:pt x="433967" y="380710"/>
                </a:lnTo>
                <a:lnTo>
                  <a:pt x="433967" y="373215"/>
                </a:lnTo>
                <a:lnTo>
                  <a:pt x="284404" y="373215"/>
                </a:lnTo>
                <a:lnTo>
                  <a:pt x="47400" y="250309"/>
                </a:lnTo>
                <a:close/>
              </a:path>
              <a:path w="1155700" h="756919">
                <a:moveTo>
                  <a:pt x="665921" y="633892"/>
                </a:moveTo>
                <a:lnTo>
                  <a:pt x="348021" y="633892"/>
                </a:lnTo>
                <a:lnTo>
                  <a:pt x="506565" y="733166"/>
                </a:lnTo>
                <a:lnTo>
                  <a:pt x="665921" y="633892"/>
                </a:lnTo>
                <a:close/>
              </a:path>
              <a:path w="1155700" h="756919">
                <a:moveTo>
                  <a:pt x="819041" y="527348"/>
                </a:moveTo>
                <a:lnTo>
                  <a:pt x="739078" y="527348"/>
                </a:lnTo>
                <a:lnTo>
                  <a:pt x="782113" y="553953"/>
                </a:lnTo>
                <a:lnTo>
                  <a:pt x="819041" y="527348"/>
                </a:lnTo>
                <a:close/>
              </a:path>
              <a:path w="1155700" h="756919">
                <a:moveTo>
                  <a:pt x="561325" y="319881"/>
                </a:moveTo>
                <a:lnTo>
                  <a:pt x="433967" y="380710"/>
                </a:lnTo>
                <a:lnTo>
                  <a:pt x="1032180" y="380710"/>
                </a:lnTo>
                <a:lnTo>
                  <a:pt x="1093756" y="345112"/>
                </a:lnTo>
                <a:lnTo>
                  <a:pt x="638414" y="345112"/>
                </a:lnTo>
                <a:lnTo>
                  <a:pt x="561325" y="319881"/>
                </a:lnTo>
                <a:close/>
              </a:path>
              <a:path w="1155700" h="756919">
                <a:moveTo>
                  <a:pt x="433967" y="300646"/>
                </a:moveTo>
                <a:lnTo>
                  <a:pt x="284404" y="373215"/>
                </a:lnTo>
                <a:lnTo>
                  <a:pt x="433967" y="373215"/>
                </a:lnTo>
                <a:lnTo>
                  <a:pt x="433967" y="300646"/>
                </a:lnTo>
                <a:close/>
              </a:path>
              <a:path w="1155700" h="756919">
                <a:moveTo>
                  <a:pt x="971716" y="0"/>
                </a:moveTo>
                <a:lnTo>
                  <a:pt x="638414" y="180737"/>
                </a:lnTo>
                <a:lnTo>
                  <a:pt x="638414" y="345112"/>
                </a:lnTo>
                <a:lnTo>
                  <a:pt x="1093756" y="345112"/>
                </a:lnTo>
                <a:lnTo>
                  <a:pt x="1155332" y="309514"/>
                </a:lnTo>
                <a:lnTo>
                  <a:pt x="1155332" y="161502"/>
                </a:lnTo>
                <a:lnTo>
                  <a:pt x="1011633" y="118534"/>
                </a:lnTo>
                <a:lnTo>
                  <a:pt x="1011633" y="19235"/>
                </a:lnTo>
                <a:lnTo>
                  <a:pt x="971716" y="0"/>
                </a:lnTo>
                <a:close/>
              </a:path>
            </a:pathLst>
          </a:custGeom>
          <a:solidFill>
            <a:srgbClr val="914D36"/>
          </a:solidFill>
        </p:spPr>
        <p:txBody>
          <a:bodyPr wrap="square" lIns="0" tIns="0" rIns="0" bIns="0" rtlCol="0"/>
          <a:lstStyle/>
          <a:p>
            <a:endParaRPr/>
          </a:p>
        </p:txBody>
      </p:sp>
      <p:sp>
        <p:nvSpPr>
          <p:cNvPr id="39" name="object 39"/>
          <p:cNvSpPr/>
          <p:nvPr/>
        </p:nvSpPr>
        <p:spPr>
          <a:xfrm>
            <a:off x="4249984" y="1443161"/>
            <a:ext cx="1009015" cy="1209040"/>
          </a:xfrm>
          <a:custGeom>
            <a:avLst/>
            <a:gdLst/>
            <a:ahLst/>
            <a:cxnLst/>
            <a:rect l="l" t="t" r="r" b="b"/>
            <a:pathLst>
              <a:path w="1009014" h="1209039">
                <a:moveTo>
                  <a:pt x="48772" y="0"/>
                </a:moveTo>
                <a:lnTo>
                  <a:pt x="0" y="0"/>
                </a:lnTo>
                <a:lnTo>
                  <a:pt x="2868" y="645758"/>
                </a:lnTo>
                <a:lnTo>
                  <a:pt x="36922" y="1208529"/>
                </a:lnTo>
                <a:lnTo>
                  <a:pt x="143668" y="1137433"/>
                </a:lnTo>
                <a:lnTo>
                  <a:pt x="54760" y="1137433"/>
                </a:lnTo>
                <a:lnTo>
                  <a:pt x="53263" y="648631"/>
                </a:lnTo>
                <a:lnTo>
                  <a:pt x="141026" y="598294"/>
                </a:lnTo>
                <a:lnTo>
                  <a:pt x="53263" y="598294"/>
                </a:lnTo>
                <a:lnTo>
                  <a:pt x="48772" y="0"/>
                </a:lnTo>
                <a:close/>
              </a:path>
              <a:path w="1009014" h="1209039">
                <a:moveTo>
                  <a:pt x="896125" y="601292"/>
                </a:moveTo>
                <a:lnTo>
                  <a:pt x="54760" y="1137433"/>
                </a:lnTo>
                <a:lnTo>
                  <a:pt x="143668" y="1137433"/>
                </a:lnTo>
                <a:lnTo>
                  <a:pt x="888640" y="641261"/>
                </a:lnTo>
                <a:lnTo>
                  <a:pt x="896125" y="601292"/>
                </a:lnTo>
                <a:close/>
              </a:path>
              <a:path w="1009014" h="1209039">
                <a:moveTo>
                  <a:pt x="977579" y="82936"/>
                </a:moveTo>
                <a:lnTo>
                  <a:pt x="53263" y="598294"/>
                </a:lnTo>
                <a:lnTo>
                  <a:pt x="141026" y="598294"/>
                </a:lnTo>
                <a:lnTo>
                  <a:pt x="1008639" y="100673"/>
                </a:lnTo>
                <a:lnTo>
                  <a:pt x="977579" y="82936"/>
                </a:lnTo>
                <a:close/>
              </a:path>
            </a:pathLst>
          </a:custGeom>
          <a:solidFill>
            <a:srgbClr val="628091"/>
          </a:solidFill>
        </p:spPr>
        <p:txBody>
          <a:bodyPr wrap="square" lIns="0" tIns="0" rIns="0" bIns="0" rtlCol="0"/>
          <a:lstStyle/>
          <a:p>
            <a:endParaRPr/>
          </a:p>
        </p:txBody>
      </p:sp>
      <p:sp>
        <p:nvSpPr>
          <p:cNvPr id="40" name="object 40"/>
          <p:cNvSpPr/>
          <p:nvPr/>
        </p:nvSpPr>
        <p:spPr>
          <a:xfrm>
            <a:off x="3753772" y="1438664"/>
            <a:ext cx="528955" cy="1209040"/>
          </a:xfrm>
          <a:custGeom>
            <a:avLst/>
            <a:gdLst/>
            <a:ahLst/>
            <a:cxnLst/>
            <a:rect l="l" t="t" r="r" b="b"/>
            <a:pathLst>
              <a:path w="528954" h="1209039">
                <a:moveTo>
                  <a:pt x="29563" y="4496"/>
                </a:moveTo>
                <a:lnTo>
                  <a:pt x="0" y="4496"/>
                </a:lnTo>
                <a:lnTo>
                  <a:pt x="5862" y="884201"/>
                </a:lnTo>
                <a:lnTo>
                  <a:pt x="528768" y="1208579"/>
                </a:lnTo>
                <a:lnTo>
                  <a:pt x="528115" y="1141930"/>
                </a:lnTo>
                <a:lnTo>
                  <a:pt x="488727" y="1141930"/>
                </a:lnTo>
                <a:lnTo>
                  <a:pt x="25072" y="863467"/>
                </a:lnTo>
                <a:lnTo>
                  <a:pt x="29563" y="4496"/>
                </a:lnTo>
                <a:close/>
              </a:path>
              <a:path w="528954" h="1209039">
                <a:moveTo>
                  <a:pt x="516918" y="0"/>
                </a:moveTo>
                <a:lnTo>
                  <a:pt x="485733" y="0"/>
                </a:lnTo>
                <a:lnTo>
                  <a:pt x="488727" y="1141930"/>
                </a:lnTo>
                <a:lnTo>
                  <a:pt x="528115" y="1141930"/>
                </a:lnTo>
                <a:lnTo>
                  <a:pt x="516918" y="0"/>
                </a:lnTo>
                <a:close/>
              </a:path>
            </a:pathLst>
          </a:custGeom>
          <a:solidFill>
            <a:srgbClr val="BCC8D3"/>
          </a:solidFill>
        </p:spPr>
        <p:txBody>
          <a:bodyPr wrap="square" lIns="0" tIns="0" rIns="0" bIns="0" rtlCol="0"/>
          <a:lstStyle/>
          <a:p>
            <a:endParaRPr/>
          </a:p>
        </p:txBody>
      </p:sp>
      <p:sp>
        <p:nvSpPr>
          <p:cNvPr id="41" name="object 41"/>
          <p:cNvSpPr/>
          <p:nvPr/>
        </p:nvSpPr>
        <p:spPr>
          <a:xfrm>
            <a:off x="3772982" y="1795642"/>
            <a:ext cx="477520" cy="313055"/>
          </a:xfrm>
          <a:custGeom>
            <a:avLst/>
            <a:gdLst/>
            <a:ahLst/>
            <a:cxnLst/>
            <a:rect l="l" t="t" r="r" b="b"/>
            <a:pathLst>
              <a:path w="477520" h="313055">
                <a:moveTo>
                  <a:pt x="10353" y="0"/>
                </a:moveTo>
                <a:lnTo>
                  <a:pt x="0" y="20734"/>
                </a:lnTo>
                <a:lnTo>
                  <a:pt x="477002" y="312512"/>
                </a:lnTo>
                <a:lnTo>
                  <a:pt x="477002" y="269544"/>
                </a:lnTo>
                <a:lnTo>
                  <a:pt x="10353" y="0"/>
                </a:lnTo>
                <a:close/>
              </a:path>
            </a:pathLst>
          </a:custGeom>
          <a:solidFill>
            <a:srgbClr val="BCC8D3"/>
          </a:solidFill>
        </p:spPr>
        <p:txBody>
          <a:bodyPr wrap="square" lIns="0" tIns="0" rIns="0" bIns="0" rtlCol="0"/>
          <a:lstStyle/>
          <a:p>
            <a:endParaRPr/>
          </a:p>
        </p:txBody>
      </p:sp>
      <p:sp>
        <p:nvSpPr>
          <p:cNvPr id="42" name="object 42"/>
          <p:cNvSpPr/>
          <p:nvPr/>
        </p:nvSpPr>
        <p:spPr>
          <a:xfrm>
            <a:off x="4415763" y="2207329"/>
            <a:ext cx="84455" cy="186690"/>
          </a:xfrm>
          <a:custGeom>
            <a:avLst/>
            <a:gdLst/>
            <a:ahLst/>
            <a:cxnLst/>
            <a:rect l="l" t="t" r="r" b="b"/>
            <a:pathLst>
              <a:path w="84454" h="186689">
                <a:moveTo>
                  <a:pt x="0" y="0"/>
                </a:moveTo>
                <a:lnTo>
                  <a:pt x="0" y="47463"/>
                </a:lnTo>
                <a:lnTo>
                  <a:pt x="28191" y="63701"/>
                </a:lnTo>
                <a:lnTo>
                  <a:pt x="16340" y="142266"/>
                </a:lnTo>
                <a:lnTo>
                  <a:pt x="75591" y="186607"/>
                </a:lnTo>
                <a:lnTo>
                  <a:pt x="84448" y="31101"/>
                </a:lnTo>
                <a:lnTo>
                  <a:pt x="0" y="0"/>
                </a:lnTo>
                <a:close/>
              </a:path>
            </a:pathLst>
          </a:custGeom>
          <a:solidFill>
            <a:srgbClr val="FFCC80"/>
          </a:solidFill>
        </p:spPr>
        <p:txBody>
          <a:bodyPr wrap="square" lIns="0" tIns="0" rIns="0" bIns="0" rtlCol="0"/>
          <a:lstStyle/>
          <a:p>
            <a:endParaRPr/>
          </a:p>
        </p:txBody>
      </p:sp>
      <p:sp>
        <p:nvSpPr>
          <p:cNvPr id="43" name="object 43"/>
          <p:cNvSpPr/>
          <p:nvPr/>
        </p:nvSpPr>
        <p:spPr>
          <a:xfrm>
            <a:off x="4652767" y="1937784"/>
            <a:ext cx="139700" cy="144145"/>
          </a:xfrm>
          <a:custGeom>
            <a:avLst/>
            <a:gdLst/>
            <a:ahLst/>
            <a:cxnLst/>
            <a:rect l="l" t="t" r="r" b="b"/>
            <a:pathLst>
              <a:path w="139700" h="144144">
                <a:moveTo>
                  <a:pt x="8981" y="0"/>
                </a:moveTo>
                <a:lnTo>
                  <a:pt x="0" y="82936"/>
                </a:lnTo>
                <a:lnTo>
                  <a:pt x="139333" y="143640"/>
                </a:lnTo>
                <a:lnTo>
                  <a:pt x="139333" y="59204"/>
                </a:lnTo>
                <a:lnTo>
                  <a:pt x="8981" y="0"/>
                </a:lnTo>
                <a:close/>
              </a:path>
            </a:pathLst>
          </a:custGeom>
          <a:solidFill>
            <a:srgbClr val="E68033"/>
          </a:solidFill>
        </p:spPr>
        <p:txBody>
          <a:bodyPr wrap="square" lIns="0" tIns="0" rIns="0" bIns="0" rtlCol="0"/>
          <a:lstStyle/>
          <a:p>
            <a:endParaRPr/>
          </a:p>
        </p:txBody>
      </p:sp>
      <p:sp>
        <p:nvSpPr>
          <p:cNvPr id="44" name="object 44"/>
          <p:cNvSpPr/>
          <p:nvPr/>
        </p:nvSpPr>
        <p:spPr>
          <a:xfrm>
            <a:off x="4488360" y="1481631"/>
            <a:ext cx="164465" cy="113030"/>
          </a:xfrm>
          <a:custGeom>
            <a:avLst/>
            <a:gdLst/>
            <a:ahLst/>
            <a:cxnLst/>
            <a:rect l="l" t="t" r="r" b="b"/>
            <a:pathLst>
              <a:path w="164464" h="113030">
                <a:moveTo>
                  <a:pt x="0" y="0"/>
                </a:moveTo>
                <a:lnTo>
                  <a:pt x="0" y="36971"/>
                </a:lnTo>
                <a:lnTo>
                  <a:pt x="82951" y="53334"/>
                </a:lnTo>
                <a:lnTo>
                  <a:pt x="82951" y="99174"/>
                </a:lnTo>
                <a:lnTo>
                  <a:pt x="161537" y="112539"/>
                </a:lnTo>
                <a:lnTo>
                  <a:pt x="164406" y="39969"/>
                </a:lnTo>
                <a:lnTo>
                  <a:pt x="40041" y="13364"/>
                </a:lnTo>
                <a:lnTo>
                  <a:pt x="0" y="0"/>
                </a:lnTo>
                <a:close/>
              </a:path>
            </a:pathLst>
          </a:custGeom>
          <a:solidFill>
            <a:srgbClr val="E68033"/>
          </a:solidFill>
        </p:spPr>
        <p:txBody>
          <a:bodyPr wrap="square" lIns="0" tIns="0" rIns="0" bIns="0" rtlCol="0"/>
          <a:lstStyle/>
          <a:p>
            <a:endParaRPr/>
          </a:p>
        </p:txBody>
      </p:sp>
      <p:sp>
        <p:nvSpPr>
          <p:cNvPr id="45" name="object 45"/>
          <p:cNvSpPr/>
          <p:nvPr/>
        </p:nvSpPr>
        <p:spPr>
          <a:xfrm>
            <a:off x="3866287" y="1564568"/>
            <a:ext cx="88900" cy="215265"/>
          </a:xfrm>
          <a:custGeom>
            <a:avLst/>
            <a:gdLst/>
            <a:ahLst/>
            <a:cxnLst/>
            <a:rect l="l" t="t" r="r" b="b"/>
            <a:pathLst>
              <a:path w="88900" h="215264">
                <a:moveTo>
                  <a:pt x="40041" y="0"/>
                </a:moveTo>
                <a:lnTo>
                  <a:pt x="0" y="202970"/>
                </a:lnTo>
                <a:lnTo>
                  <a:pt x="35550" y="214711"/>
                </a:lnTo>
                <a:lnTo>
                  <a:pt x="88814" y="13364"/>
                </a:lnTo>
                <a:lnTo>
                  <a:pt x="40041" y="0"/>
                </a:lnTo>
                <a:close/>
              </a:path>
            </a:pathLst>
          </a:custGeom>
          <a:solidFill>
            <a:srgbClr val="E68033"/>
          </a:solidFill>
        </p:spPr>
        <p:txBody>
          <a:bodyPr wrap="square" lIns="0" tIns="0" rIns="0" bIns="0" rtlCol="0"/>
          <a:lstStyle/>
          <a:p>
            <a:endParaRPr/>
          </a:p>
        </p:txBody>
      </p:sp>
      <p:sp>
        <p:nvSpPr>
          <p:cNvPr id="46" name="object 46"/>
          <p:cNvSpPr/>
          <p:nvPr/>
        </p:nvSpPr>
        <p:spPr>
          <a:xfrm>
            <a:off x="3889987" y="2053321"/>
            <a:ext cx="73025" cy="220979"/>
          </a:xfrm>
          <a:custGeom>
            <a:avLst/>
            <a:gdLst/>
            <a:ahLst/>
            <a:cxnLst/>
            <a:rect l="l" t="t" r="r" b="b"/>
            <a:pathLst>
              <a:path w="73025" h="220980">
                <a:moveTo>
                  <a:pt x="40041" y="0"/>
                </a:moveTo>
                <a:lnTo>
                  <a:pt x="0" y="146638"/>
                </a:lnTo>
                <a:lnTo>
                  <a:pt x="4490" y="220706"/>
                </a:lnTo>
                <a:lnTo>
                  <a:pt x="72598" y="23731"/>
                </a:lnTo>
                <a:lnTo>
                  <a:pt x="40041" y="0"/>
                </a:lnTo>
                <a:close/>
              </a:path>
            </a:pathLst>
          </a:custGeom>
          <a:solidFill>
            <a:srgbClr val="E68033"/>
          </a:solidFill>
        </p:spPr>
        <p:txBody>
          <a:bodyPr wrap="square" lIns="0" tIns="0" rIns="0" bIns="0" rtlCol="0"/>
          <a:lstStyle/>
          <a:p>
            <a:endParaRPr/>
          </a:p>
        </p:txBody>
      </p:sp>
      <p:sp>
        <p:nvSpPr>
          <p:cNvPr id="47" name="object 47"/>
          <p:cNvSpPr/>
          <p:nvPr/>
        </p:nvSpPr>
        <p:spPr>
          <a:xfrm>
            <a:off x="3934395" y="2017723"/>
            <a:ext cx="142240" cy="67310"/>
          </a:xfrm>
          <a:custGeom>
            <a:avLst/>
            <a:gdLst/>
            <a:ahLst/>
            <a:cxnLst/>
            <a:rect l="l" t="t" r="r" b="b"/>
            <a:pathLst>
              <a:path w="142239" h="67310">
                <a:moveTo>
                  <a:pt x="93304" y="0"/>
                </a:moveTo>
                <a:lnTo>
                  <a:pt x="0" y="40094"/>
                </a:lnTo>
                <a:lnTo>
                  <a:pt x="28191" y="66699"/>
                </a:lnTo>
                <a:lnTo>
                  <a:pt x="142202" y="23731"/>
                </a:lnTo>
                <a:lnTo>
                  <a:pt x="93304" y="0"/>
                </a:lnTo>
                <a:close/>
              </a:path>
            </a:pathLst>
          </a:custGeom>
          <a:solidFill>
            <a:srgbClr val="914D36"/>
          </a:solidFill>
        </p:spPr>
        <p:txBody>
          <a:bodyPr wrap="square" lIns="0" tIns="0" rIns="0" bIns="0" rtlCol="0"/>
          <a:lstStyle/>
          <a:p>
            <a:endParaRPr/>
          </a:p>
        </p:txBody>
      </p:sp>
      <p:sp>
        <p:nvSpPr>
          <p:cNvPr id="48" name="object 48"/>
          <p:cNvSpPr/>
          <p:nvPr/>
        </p:nvSpPr>
        <p:spPr>
          <a:xfrm>
            <a:off x="5263115" y="1594171"/>
            <a:ext cx="286385" cy="292100"/>
          </a:xfrm>
          <a:custGeom>
            <a:avLst/>
            <a:gdLst/>
            <a:ahLst/>
            <a:cxnLst/>
            <a:rect l="l" t="t" r="r" b="b"/>
            <a:pathLst>
              <a:path w="286385" h="292100">
                <a:moveTo>
                  <a:pt x="0" y="10367"/>
                </a:moveTo>
                <a:lnTo>
                  <a:pt x="4365" y="66699"/>
                </a:lnTo>
                <a:lnTo>
                  <a:pt x="4365" y="291777"/>
                </a:lnTo>
                <a:lnTo>
                  <a:pt x="134718" y="217709"/>
                </a:lnTo>
                <a:lnTo>
                  <a:pt x="134718" y="173367"/>
                </a:lnTo>
                <a:lnTo>
                  <a:pt x="197481" y="173367"/>
                </a:lnTo>
                <a:lnTo>
                  <a:pt x="285777" y="125904"/>
                </a:lnTo>
                <a:lnTo>
                  <a:pt x="285777" y="62202"/>
                </a:lnTo>
                <a:lnTo>
                  <a:pt x="188711" y="22233"/>
                </a:lnTo>
                <a:lnTo>
                  <a:pt x="94801" y="22233"/>
                </a:lnTo>
                <a:lnTo>
                  <a:pt x="0" y="10367"/>
                </a:lnTo>
                <a:close/>
              </a:path>
              <a:path w="286385" h="292100">
                <a:moveTo>
                  <a:pt x="197481" y="173367"/>
                </a:moveTo>
                <a:lnTo>
                  <a:pt x="134718" y="173367"/>
                </a:lnTo>
                <a:lnTo>
                  <a:pt x="167275" y="189605"/>
                </a:lnTo>
                <a:lnTo>
                  <a:pt x="197481" y="173367"/>
                </a:lnTo>
                <a:close/>
              </a:path>
              <a:path w="286385" h="292100">
                <a:moveTo>
                  <a:pt x="134718" y="0"/>
                </a:moveTo>
                <a:lnTo>
                  <a:pt x="94801" y="22233"/>
                </a:lnTo>
                <a:lnTo>
                  <a:pt x="188711" y="22233"/>
                </a:lnTo>
                <a:lnTo>
                  <a:pt x="134718" y="0"/>
                </a:lnTo>
                <a:close/>
              </a:path>
            </a:pathLst>
          </a:custGeom>
          <a:solidFill>
            <a:srgbClr val="914D36"/>
          </a:solidFill>
        </p:spPr>
        <p:txBody>
          <a:bodyPr wrap="square" lIns="0" tIns="0" rIns="0" bIns="0" rtlCol="0"/>
          <a:lstStyle/>
          <a:p>
            <a:endParaRPr/>
          </a:p>
        </p:txBody>
      </p:sp>
      <p:sp>
        <p:nvSpPr>
          <p:cNvPr id="49" name="object 49"/>
          <p:cNvSpPr/>
          <p:nvPr/>
        </p:nvSpPr>
        <p:spPr>
          <a:xfrm>
            <a:off x="2939052" y="1660870"/>
            <a:ext cx="68580" cy="632460"/>
          </a:xfrm>
          <a:custGeom>
            <a:avLst/>
            <a:gdLst/>
            <a:ahLst/>
            <a:cxnLst/>
            <a:rect l="l" t="t" r="r" b="b"/>
            <a:pathLst>
              <a:path w="68580" h="632460">
                <a:moveTo>
                  <a:pt x="8881" y="0"/>
                </a:moveTo>
                <a:lnTo>
                  <a:pt x="0" y="608661"/>
                </a:lnTo>
                <a:lnTo>
                  <a:pt x="68132" y="632393"/>
                </a:lnTo>
                <a:lnTo>
                  <a:pt x="60722" y="125904"/>
                </a:lnTo>
                <a:lnTo>
                  <a:pt x="8881" y="0"/>
                </a:lnTo>
                <a:close/>
              </a:path>
            </a:pathLst>
          </a:custGeom>
          <a:solidFill>
            <a:srgbClr val="D1D142"/>
          </a:solidFill>
        </p:spPr>
        <p:txBody>
          <a:bodyPr wrap="square" lIns="0" tIns="0" rIns="0" bIns="0" rtlCol="0"/>
          <a:lstStyle/>
          <a:p>
            <a:endParaRPr/>
          </a:p>
        </p:txBody>
      </p:sp>
      <p:sp>
        <p:nvSpPr>
          <p:cNvPr id="50" name="object 50"/>
          <p:cNvSpPr/>
          <p:nvPr/>
        </p:nvSpPr>
        <p:spPr>
          <a:xfrm>
            <a:off x="2934611" y="1614905"/>
            <a:ext cx="77470" cy="699135"/>
          </a:xfrm>
          <a:custGeom>
            <a:avLst/>
            <a:gdLst/>
            <a:ahLst/>
            <a:cxnLst/>
            <a:rect l="l" t="t" r="r" b="b"/>
            <a:pathLst>
              <a:path w="77469" h="699135">
                <a:moveTo>
                  <a:pt x="72573" y="0"/>
                </a:moveTo>
                <a:lnTo>
                  <a:pt x="0" y="4496"/>
                </a:lnTo>
                <a:lnTo>
                  <a:pt x="8881" y="87433"/>
                </a:lnTo>
                <a:lnTo>
                  <a:pt x="51841" y="213337"/>
                </a:lnTo>
                <a:lnTo>
                  <a:pt x="51841" y="666492"/>
                </a:lnTo>
                <a:lnTo>
                  <a:pt x="77013" y="699092"/>
                </a:lnTo>
                <a:lnTo>
                  <a:pt x="72573" y="0"/>
                </a:lnTo>
                <a:close/>
              </a:path>
            </a:pathLst>
          </a:custGeom>
          <a:solidFill>
            <a:srgbClr val="404640"/>
          </a:solidFill>
        </p:spPr>
        <p:txBody>
          <a:bodyPr wrap="square" lIns="0" tIns="0" rIns="0" bIns="0" rtlCol="0"/>
          <a:lstStyle/>
          <a:p>
            <a:endParaRPr/>
          </a:p>
        </p:txBody>
      </p:sp>
      <p:sp>
        <p:nvSpPr>
          <p:cNvPr id="51" name="object 51"/>
          <p:cNvSpPr/>
          <p:nvPr/>
        </p:nvSpPr>
        <p:spPr>
          <a:xfrm>
            <a:off x="2445806" y="2334732"/>
            <a:ext cx="881380" cy="614680"/>
          </a:xfrm>
          <a:custGeom>
            <a:avLst/>
            <a:gdLst/>
            <a:ahLst/>
            <a:cxnLst/>
            <a:rect l="l" t="t" r="r" b="b"/>
            <a:pathLst>
              <a:path w="881379" h="614680">
                <a:moveTo>
                  <a:pt x="626554" y="0"/>
                </a:moveTo>
                <a:lnTo>
                  <a:pt x="599885" y="8868"/>
                </a:lnTo>
                <a:lnTo>
                  <a:pt x="827996" y="168846"/>
                </a:lnTo>
                <a:lnTo>
                  <a:pt x="0" y="553928"/>
                </a:lnTo>
                <a:lnTo>
                  <a:pt x="0" y="614656"/>
                </a:lnTo>
                <a:lnTo>
                  <a:pt x="881321" y="167360"/>
                </a:lnTo>
                <a:lnTo>
                  <a:pt x="626554" y="0"/>
                </a:lnTo>
                <a:close/>
              </a:path>
            </a:pathLst>
          </a:custGeom>
          <a:solidFill>
            <a:srgbClr val="FFFF80"/>
          </a:solidFill>
        </p:spPr>
        <p:txBody>
          <a:bodyPr wrap="square" lIns="0" tIns="0" rIns="0" bIns="0" rtlCol="0"/>
          <a:lstStyle/>
          <a:p>
            <a:endParaRPr/>
          </a:p>
        </p:txBody>
      </p:sp>
      <p:sp>
        <p:nvSpPr>
          <p:cNvPr id="52" name="object 52"/>
          <p:cNvSpPr/>
          <p:nvPr/>
        </p:nvSpPr>
        <p:spPr>
          <a:xfrm>
            <a:off x="2445806" y="2254793"/>
            <a:ext cx="626745" cy="421005"/>
          </a:xfrm>
          <a:custGeom>
            <a:avLst/>
            <a:gdLst/>
            <a:ahLst/>
            <a:cxnLst/>
            <a:rect l="l" t="t" r="r" b="b"/>
            <a:pathLst>
              <a:path w="626744" h="421005">
                <a:moveTo>
                  <a:pt x="518418" y="0"/>
                </a:moveTo>
                <a:lnTo>
                  <a:pt x="0" y="229537"/>
                </a:lnTo>
                <a:lnTo>
                  <a:pt x="0" y="420592"/>
                </a:lnTo>
                <a:lnTo>
                  <a:pt x="626554" y="79939"/>
                </a:lnTo>
                <a:lnTo>
                  <a:pt x="518418" y="0"/>
                </a:lnTo>
                <a:close/>
              </a:path>
            </a:pathLst>
          </a:custGeom>
          <a:solidFill>
            <a:srgbClr val="FFFF80"/>
          </a:solidFill>
        </p:spPr>
        <p:txBody>
          <a:bodyPr wrap="square" lIns="0" tIns="0" rIns="0" bIns="0" rtlCol="0"/>
          <a:lstStyle/>
          <a:p>
            <a:endParaRPr/>
          </a:p>
        </p:txBody>
      </p:sp>
      <p:sp>
        <p:nvSpPr>
          <p:cNvPr id="53" name="object 53"/>
          <p:cNvSpPr/>
          <p:nvPr/>
        </p:nvSpPr>
        <p:spPr>
          <a:xfrm>
            <a:off x="2444324" y="1438664"/>
            <a:ext cx="597535" cy="401955"/>
          </a:xfrm>
          <a:custGeom>
            <a:avLst/>
            <a:gdLst/>
            <a:ahLst/>
            <a:cxnLst/>
            <a:rect l="l" t="t" r="r" b="b"/>
            <a:pathLst>
              <a:path w="597535" h="401955">
                <a:moveTo>
                  <a:pt x="596926" y="0"/>
                </a:moveTo>
                <a:lnTo>
                  <a:pt x="0" y="20734"/>
                </a:lnTo>
                <a:lnTo>
                  <a:pt x="0" y="401444"/>
                </a:lnTo>
                <a:lnTo>
                  <a:pt x="19256" y="393950"/>
                </a:lnTo>
                <a:lnTo>
                  <a:pt x="564344" y="192603"/>
                </a:lnTo>
                <a:lnTo>
                  <a:pt x="564344" y="97800"/>
                </a:lnTo>
                <a:lnTo>
                  <a:pt x="565828" y="87433"/>
                </a:lnTo>
                <a:lnTo>
                  <a:pt x="565828" y="62202"/>
                </a:lnTo>
                <a:lnTo>
                  <a:pt x="567300" y="60703"/>
                </a:lnTo>
                <a:lnTo>
                  <a:pt x="596926" y="0"/>
                </a:lnTo>
                <a:close/>
              </a:path>
            </a:pathLst>
          </a:custGeom>
          <a:solidFill>
            <a:srgbClr val="5C5C73"/>
          </a:solidFill>
        </p:spPr>
        <p:txBody>
          <a:bodyPr wrap="square" lIns="0" tIns="0" rIns="0" bIns="0" rtlCol="0"/>
          <a:lstStyle/>
          <a:p>
            <a:endParaRPr/>
          </a:p>
        </p:txBody>
      </p:sp>
      <p:sp>
        <p:nvSpPr>
          <p:cNvPr id="54" name="object 54"/>
          <p:cNvSpPr/>
          <p:nvPr/>
        </p:nvSpPr>
        <p:spPr>
          <a:xfrm>
            <a:off x="2444324" y="1438664"/>
            <a:ext cx="628650" cy="278765"/>
          </a:xfrm>
          <a:custGeom>
            <a:avLst/>
            <a:gdLst/>
            <a:ahLst/>
            <a:cxnLst/>
            <a:rect l="l" t="t" r="r" b="b"/>
            <a:pathLst>
              <a:path w="628650" h="278764">
                <a:moveTo>
                  <a:pt x="282908" y="238443"/>
                </a:moveTo>
                <a:lnTo>
                  <a:pt x="139233" y="238443"/>
                </a:lnTo>
                <a:lnTo>
                  <a:pt x="128868" y="242940"/>
                </a:lnTo>
                <a:lnTo>
                  <a:pt x="118497" y="244438"/>
                </a:lnTo>
                <a:lnTo>
                  <a:pt x="111091" y="247311"/>
                </a:lnTo>
                <a:lnTo>
                  <a:pt x="100722" y="248810"/>
                </a:lnTo>
                <a:lnTo>
                  <a:pt x="93316" y="253307"/>
                </a:lnTo>
                <a:lnTo>
                  <a:pt x="85910" y="254805"/>
                </a:lnTo>
                <a:lnTo>
                  <a:pt x="78504" y="257678"/>
                </a:lnTo>
                <a:lnTo>
                  <a:pt x="56286" y="262175"/>
                </a:lnTo>
                <a:lnTo>
                  <a:pt x="51843" y="263674"/>
                </a:lnTo>
                <a:lnTo>
                  <a:pt x="39992" y="268045"/>
                </a:lnTo>
                <a:lnTo>
                  <a:pt x="25180" y="275540"/>
                </a:lnTo>
                <a:lnTo>
                  <a:pt x="29624" y="278413"/>
                </a:lnTo>
                <a:lnTo>
                  <a:pt x="32587" y="277039"/>
                </a:lnTo>
                <a:lnTo>
                  <a:pt x="41473" y="275540"/>
                </a:lnTo>
                <a:lnTo>
                  <a:pt x="45917" y="274041"/>
                </a:lnTo>
                <a:lnTo>
                  <a:pt x="51843" y="274041"/>
                </a:lnTo>
                <a:lnTo>
                  <a:pt x="57766" y="272542"/>
                </a:lnTo>
                <a:lnTo>
                  <a:pt x="65173" y="272542"/>
                </a:lnTo>
                <a:lnTo>
                  <a:pt x="71097" y="271043"/>
                </a:lnTo>
                <a:lnTo>
                  <a:pt x="78504" y="271043"/>
                </a:lnTo>
                <a:lnTo>
                  <a:pt x="85910" y="268045"/>
                </a:lnTo>
                <a:lnTo>
                  <a:pt x="94798" y="268045"/>
                </a:lnTo>
                <a:lnTo>
                  <a:pt x="102203" y="265173"/>
                </a:lnTo>
                <a:lnTo>
                  <a:pt x="112572" y="265173"/>
                </a:lnTo>
                <a:lnTo>
                  <a:pt x="122943" y="262175"/>
                </a:lnTo>
                <a:lnTo>
                  <a:pt x="133308" y="262175"/>
                </a:lnTo>
                <a:lnTo>
                  <a:pt x="142202" y="260676"/>
                </a:lnTo>
                <a:lnTo>
                  <a:pt x="152568" y="259177"/>
                </a:lnTo>
                <a:lnTo>
                  <a:pt x="162934" y="256179"/>
                </a:lnTo>
                <a:lnTo>
                  <a:pt x="174784" y="254805"/>
                </a:lnTo>
                <a:lnTo>
                  <a:pt x="186634" y="253307"/>
                </a:lnTo>
                <a:lnTo>
                  <a:pt x="197000" y="251808"/>
                </a:lnTo>
                <a:lnTo>
                  <a:pt x="208850" y="250309"/>
                </a:lnTo>
                <a:lnTo>
                  <a:pt x="222185" y="248810"/>
                </a:lnTo>
                <a:lnTo>
                  <a:pt x="232551" y="245812"/>
                </a:lnTo>
                <a:lnTo>
                  <a:pt x="245885" y="245812"/>
                </a:lnTo>
                <a:lnTo>
                  <a:pt x="257736" y="242940"/>
                </a:lnTo>
                <a:lnTo>
                  <a:pt x="271058" y="241441"/>
                </a:lnTo>
                <a:lnTo>
                  <a:pt x="282908" y="238443"/>
                </a:lnTo>
                <a:close/>
              </a:path>
              <a:path w="628650" h="278764">
                <a:moveTo>
                  <a:pt x="577711" y="155506"/>
                </a:moveTo>
                <a:lnTo>
                  <a:pt x="479908" y="155506"/>
                </a:lnTo>
                <a:lnTo>
                  <a:pt x="471745" y="155960"/>
                </a:lnTo>
                <a:lnTo>
                  <a:pt x="466586" y="157005"/>
                </a:lnTo>
                <a:lnTo>
                  <a:pt x="457692" y="160003"/>
                </a:lnTo>
                <a:lnTo>
                  <a:pt x="445842" y="161502"/>
                </a:lnTo>
                <a:lnTo>
                  <a:pt x="433992" y="165873"/>
                </a:lnTo>
                <a:lnTo>
                  <a:pt x="425110" y="167372"/>
                </a:lnTo>
                <a:lnTo>
                  <a:pt x="410291" y="170370"/>
                </a:lnTo>
                <a:lnTo>
                  <a:pt x="402894" y="174741"/>
                </a:lnTo>
                <a:lnTo>
                  <a:pt x="392516" y="176240"/>
                </a:lnTo>
                <a:lnTo>
                  <a:pt x="383635" y="177739"/>
                </a:lnTo>
                <a:lnTo>
                  <a:pt x="373269" y="179238"/>
                </a:lnTo>
                <a:lnTo>
                  <a:pt x="364375" y="182236"/>
                </a:lnTo>
                <a:lnTo>
                  <a:pt x="354009" y="183610"/>
                </a:lnTo>
                <a:lnTo>
                  <a:pt x="333277" y="189605"/>
                </a:lnTo>
                <a:lnTo>
                  <a:pt x="324384" y="192603"/>
                </a:lnTo>
                <a:lnTo>
                  <a:pt x="312533" y="195476"/>
                </a:lnTo>
                <a:lnTo>
                  <a:pt x="302168" y="198473"/>
                </a:lnTo>
                <a:lnTo>
                  <a:pt x="290317" y="199972"/>
                </a:lnTo>
                <a:lnTo>
                  <a:pt x="279952" y="204344"/>
                </a:lnTo>
                <a:lnTo>
                  <a:pt x="269586" y="207342"/>
                </a:lnTo>
                <a:lnTo>
                  <a:pt x="257736" y="208840"/>
                </a:lnTo>
                <a:lnTo>
                  <a:pt x="247357" y="213337"/>
                </a:lnTo>
                <a:lnTo>
                  <a:pt x="236991" y="216210"/>
                </a:lnTo>
                <a:lnTo>
                  <a:pt x="225141" y="219208"/>
                </a:lnTo>
                <a:lnTo>
                  <a:pt x="214775" y="222205"/>
                </a:lnTo>
                <a:lnTo>
                  <a:pt x="202925" y="223704"/>
                </a:lnTo>
                <a:lnTo>
                  <a:pt x="192559" y="226577"/>
                </a:lnTo>
                <a:lnTo>
                  <a:pt x="180709" y="229575"/>
                </a:lnTo>
                <a:lnTo>
                  <a:pt x="170343" y="231074"/>
                </a:lnTo>
                <a:lnTo>
                  <a:pt x="159965" y="234071"/>
                </a:lnTo>
                <a:lnTo>
                  <a:pt x="149599" y="238443"/>
                </a:lnTo>
                <a:lnTo>
                  <a:pt x="294758" y="238443"/>
                </a:lnTo>
                <a:lnTo>
                  <a:pt x="308093" y="235445"/>
                </a:lnTo>
                <a:lnTo>
                  <a:pt x="321427" y="234071"/>
                </a:lnTo>
                <a:lnTo>
                  <a:pt x="333277" y="231074"/>
                </a:lnTo>
                <a:lnTo>
                  <a:pt x="345128" y="229575"/>
                </a:lnTo>
                <a:lnTo>
                  <a:pt x="356978" y="226577"/>
                </a:lnTo>
                <a:lnTo>
                  <a:pt x="368816" y="225078"/>
                </a:lnTo>
                <a:lnTo>
                  <a:pt x="380666" y="223704"/>
                </a:lnTo>
                <a:lnTo>
                  <a:pt x="392516" y="222205"/>
                </a:lnTo>
                <a:lnTo>
                  <a:pt x="404366" y="219208"/>
                </a:lnTo>
                <a:lnTo>
                  <a:pt x="417701" y="217709"/>
                </a:lnTo>
                <a:lnTo>
                  <a:pt x="426595" y="216210"/>
                </a:lnTo>
                <a:lnTo>
                  <a:pt x="438445" y="214711"/>
                </a:lnTo>
                <a:lnTo>
                  <a:pt x="448811" y="211838"/>
                </a:lnTo>
                <a:lnTo>
                  <a:pt x="459177" y="210339"/>
                </a:lnTo>
                <a:lnTo>
                  <a:pt x="469542" y="207342"/>
                </a:lnTo>
                <a:lnTo>
                  <a:pt x="479908" y="207342"/>
                </a:lnTo>
                <a:lnTo>
                  <a:pt x="488802" y="204344"/>
                </a:lnTo>
                <a:lnTo>
                  <a:pt x="499168" y="204344"/>
                </a:lnTo>
                <a:lnTo>
                  <a:pt x="506577" y="201471"/>
                </a:lnTo>
                <a:lnTo>
                  <a:pt x="515459" y="199972"/>
                </a:lnTo>
                <a:lnTo>
                  <a:pt x="522868" y="199972"/>
                </a:lnTo>
                <a:lnTo>
                  <a:pt x="531750" y="198473"/>
                </a:lnTo>
                <a:lnTo>
                  <a:pt x="537675" y="196975"/>
                </a:lnTo>
                <a:lnTo>
                  <a:pt x="545084" y="195476"/>
                </a:lnTo>
                <a:lnTo>
                  <a:pt x="551009" y="193977"/>
                </a:lnTo>
                <a:lnTo>
                  <a:pt x="558419" y="193977"/>
                </a:lnTo>
                <a:lnTo>
                  <a:pt x="565828" y="192603"/>
                </a:lnTo>
                <a:lnTo>
                  <a:pt x="580635" y="192603"/>
                </a:lnTo>
                <a:lnTo>
                  <a:pt x="577711" y="155506"/>
                </a:lnTo>
                <a:close/>
              </a:path>
              <a:path w="628650" h="278764">
                <a:moveTo>
                  <a:pt x="582099" y="72569"/>
                </a:moveTo>
                <a:lnTo>
                  <a:pt x="484361" y="72569"/>
                </a:lnTo>
                <a:lnTo>
                  <a:pt x="106647" y="176240"/>
                </a:lnTo>
                <a:lnTo>
                  <a:pt x="471745" y="155960"/>
                </a:lnTo>
                <a:lnTo>
                  <a:pt x="473983" y="155506"/>
                </a:lnTo>
                <a:lnTo>
                  <a:pt x="577711" y="155506"/>
                </a:lnTo>
                <a:lnTo>
                  <a:pt x="576194" y="136271"/>
                </a:lnTo>
                <a:lnTo>
                  <a:pt x="582099" y="72569"/>
                </a:lnTo>
                <a:close/>
              </a:path>
              <a:path w="628650" h="278764">
                <a:moveTo>
                  <a:pt x="596510" y="39969"/>
                </a:moveTo>
                <a:lnTo>
                  <a:pt x="356978" y="39969"/>
                </a:lnTo>
                <a:lnTo>
                  <a:pt x="62211" y="100673"/>
                </a:lnTo>
                <a:lnTo>
                  <a:pt x="484361" y="72569"/>
                </a:lnTo>
                <a:lnTo>
                  <a:pt x="582099" y="72569"/>
                </a:lnTo>
                <a:lnTo>
                  <a:pt x="583604" y="56332"/>
                </a:lnTo>
                <a:lnTo>
                  <a:pt x="596510" y="39969"/>
                </a:lnTo>
                <a:close/>
              </a:path>
              <a:path w="628650" h="278764">
                <a:moveTo>
                  <a:pt x="628036" y="0"/>
                </a:moveTo>
                <a:lnTo>
                  <a:pt x="0" y="16362"/>
                </a:lnTo>
                <a:lnTo>
                  <a:pt x="0" y="51835"/>
                </a:lnTo>
                <a:lnTo>
                  <a:pt x="356978" y="39969"/>
                </a:lnTo>
                <a:lnTo>
                  <a:pt x="596510" y="39969"/>
                </a:lnTo>
                <a:lnTo>
                  <a:pt x="628036" y="0"/>
                </a:lnTo>
                <a:close/>
              </a:path>
            </a:pathLst>
          </a:custGeom>
          <a:solidFill>
            <a:srgbClr val="2D2D3A"/>
          </a:solidFill>
        </p:spPr>
        <p:txBody>
          <a:bodyPr wrap="square" lIns="0" tIns="0" rIns="0" bIns="0" rtlCol="0"/>
          <a:lstStyle/>
          <a:p>
            <a:endParaRPr/>
          </a:p>
        </p:txBody>
      </p:sp>
      <p:sp>
        <p:nvSpPr>
          <p:cNvPr id="55" name="object 55"/>
          <p:cNvSpPr/>
          <p:nvPr/>
        </p:nvSpPr>
        <p:spPr>
          <a:xfrm>
            <a:off x="2977559" y="2300633"/>
            <a:ext cx="71120" cy="81915"/>
          </a:xfrm>
          <a:custGeom>
            <a:avLst/>
            <a:gdLst/>
            <a:ahLst/>
            <a:cxnLst/>
            <a:rect l="l" t="t" r="r" b="b"/>
            <a:pathLst>
              <a:path w="71119" h="81914">
                <a:moveTo>
                  <a:pt x="47400" y="0"/>
                </a:moveTo>
                <a:lnTo>
                  <a:pt x="0" y="81437"/>
                </a:lnTo>
                <a:lnTo>
                  <a:pt x="45916" y="62202"/>
                </a:lnTo>
                <a:lnTo>
                  <a:pt x="71101" y="17861"/>
                </a:lnTo>
                <a:lnTo>
                  <a:pt x="47400" y="0"/>
                </a:lnTo>
                <a:close/>
              </a:path>
            </a:pathLst>
          </a:custGeom>
          <a:solidFill>
            <a:srgbClr val="1A1A1A"/>
          </a:solidFill>
        </p:spPr>
        <p:txBody>
          <a:bodyPr wrap="square" lIns="0" tIns="0" rIns="0" bIns="0" rtlCol="0"/>
          <a:lstStyle/>
          <a:p>
            <a:endParaRPr/>
          </a:p>
        </p:txBody>
      </p:sp>
      <p:sp>
        <p:nvSpPr>
          <p:cNvPr id="56" name="object 56"/>
          <p:cNvSpPr/>
          <p:nvPr/>
        </p:nvSpPr>
        <p:spPr>
          <a:xfrm>
            <a:off x="4917962" y="1497869"/>
            <a:ext cx="1221105" cy="2052955"/>
          </a:xfrm>
          <a:custGeom>
            <a:avLst/>
            <a:gdLst/>
            <a:ahLst/>
            <a:cxnLst/>
            <a:rect l="l" t="t" r="r" b="b"/>
            <a:pathLst>
              <a:path w="1221104" h="2052954">
                <a:moveTo>
                  <a:pt x="1216080" y="0"/>
                </a:moveTo>
                <a:lnTo>
                  <a:pt x="479870" y="499119"/>
                </a:lnTo>
                <a:lnTo>
                  <a:pt x="26694" y="799890"/>
                </a:lnTo>
                <a:lnTo>
                  <a:pt x="16340" y="836862"/>
                </a:lnTo>
                <a:lnTo>
                  <a:pt x="373219" y="1069398"/>
                </a:lnTo>
                <a:lnTo>
                  <a:pt x="340662" y="1269345"/>
                </a:lnTo>
                <a:lnTo>
                  <a:pt x="0" y="1504829"/>
                </a:lnTo>
                <a:lnTo>
                  <a:pt x="887268" y="2052836"/>
                </a:lnTo>
                <a:lnTo>
                  <a:pt x="1220571" y="1752178"/>
                </a:lnTo>
                <a:lnTo>
                  <a:pt x="1216080" y="0"/>
                </a:lnTo>
                <a:close/>
              </a:path>
            </a:pathLst>
          </a:custGeom>
          <a:solidFill>
            <a:srgbClr val="7993A8"/>
          </a:solidFill>
        </p:spPr>
        <p:txBody>
          <a:bodyPr wrap="square" lIns="0" tIns="0" rIns="0" bIns="0" rtlCol="0"/>
          <a:lstStyle/>
          <a:p>
            <a:endParaRPr/>
          </a:p>
        </p:txBody>
      </p:sp>
      <p:sp>
        <p:nvSpPr>
          <p:cNvPr id="57" name="object 57"/>
          <p:cNvSpPr/>
          <p:nvPr/>
        </p:nvSpPr>
        <p:spPr>
          <a:xfrm>
            <a:off x="4917962" y="1443161"/>
            <a:ext cx="219710" cy="1583690"/>
          </a:xfrm>
          <a:custGeom>
            <a:avLst/>
            <a:gdLst/>
            <a:ahLst/>
            <a:cxnLst/>
            <a:rect l="l" t="t" r="r" b="b"/>
            <a:pathLst>
              <a:path w="219710" h="1583689">
                <a:moveTo>
                  <a:pt x="56257" y="0"/>
                </a:moveTo>
                <a:lnTo>
                  <a:pt x="5862" y="0"/>
                </a:lnTo>
                <a:lnTo>
                  <a:pt x="11850" y="863467"/>
                </a:lnTo>
                <a:lnTo>
                  <a:pt x="0" y="1553617"/>
                </a:lnTo>
                <a:lnTo>
                  <a:pt x="32556" y="1583244"/>
                </a:lnTo>
                <a:lnTo>
                  <a:pt x="219166" y="1550656"/>
                </a:lnTo>
                <a:lnTo>
                  <a:pt x="219166" y="1529922"/>
                </a:lnTo>
                <a:lnTo>
                  <a:pt x="40041" y="1529922"/>
                </a:lnTo>
                <a:lnTo>
                  <a:pt x="51891" y="898940"/>
                </a:lnTo>
                <a:lnTo>
                  <a:pt x="56257" y="0"/>
                </a:lnTo>
                <a:close/>
              </a:path>
              <a:path w="219710" h="1583689">
                <a:moveTo>
                  <a:pt x="219166" y="1494374"/>
                </a:moveTo>
                <a:lnTo>
                  <a:pt x="40041" y="1529922"/>
                </a:lnTo>
                <a:lnTo>
                  <a:pt x="219166" y="1529922"/>
                </a:lnTo>
                <a:lnTo>
                  <a:pt x="219166" y="1494374"/>
                </a:lnTo>
                <a:close/>
              </a:path>
            </a:pathLst>
          </a:custGeom>
          <a:solidFill>
            <a:srgbClr val="496979"/>
          </a:solidFill>
        </p:spPr>
        <p:txBody>
          <a:bodyPr wrap="square" lIns="0" tIns="0" rIns="0" bIns="0" rtlCol="0"/>
          <a:lstStyle/>
          <a:p>
            <a:endParaRPr/>
          </a:p>
        </p:txBody>
      </p:sp>
      <p:sp>
        <p:nvSpPr>
          <p:cNvPr id="58" name="object 58"/>
          <p:cNvSpPr/>
          <p:nvPr/>
        </p:nvSpPr>
        <p:spPr>
          <a:xfrm>
            <a:off x="5186026" y="1992617"/>
            <a:ext cx="948055" cy="603250"/>
          </a:xfrm>
          <a:custGeom>
            <a:avLst/>
            <a:gdLst/>
            <a:ahLst/>
            <a:cxnLst/>
            <a:rect l="l" t="t" r="r" b="b"/>
            <a:pathLst>
              <a:path w="948054" h="603250">
                <a:moveTo>
                  <a:pt x="943525" y="0"/>
                </a:moveTo>
                <a:lnTo>
                  <a:pt x="0" y="309514"/>
                </a:lnTo>
                <a:lnTo>
                  <a:pt x="91807" y="402818"/>
                </a:lnTo>
                <a:lnTo>
                  <a:pt x="469517" y="402818"/>
                </a:lnTo>
                <a:lnTo>
                  <a:pt x="413260" y="602791"/>
                </a:lnTo>
                <a:lnTo>
                  <a:pt x="765772" y="582056"/>
                </a:lnTo>
                <a:lnTo>
                  <a:pt x="796957" y="527248"/>
                </a:lnTo>
                <a:lnTo>
                  <a:pt x="948016" y="488740"/>
                </a:lnTo>
                <a:lnTo>
                  <a:pt x="943525" y="0"/>
                </a:lnTo>
                <a:close/>
              </a:path>
            </a:pathLst>
          </a:custGeom>
          <a:solidFill>
            <a:srgbClr val="496979"/>
          </a:solidFill>
        </p:spPr>
        <p:txBody>
          <a:bodyPr wrap="square" lIns="0" tIns="0" rIns="0" bIns="0" rtlCol="0"/>
          <a:lstStyle/>
          <a:p>
            <a:endParaRPr/>
          </a:p>
        </p:txBody>
      </p:sp>
      <p:sp>
        <p:nvSpPr>
          <p:cNvPr id="59" name="object 59"/>
          <p:cNvSpPr/>
          <p:nvPr/>
        </p:nvSpPr>
        <p:spPr>
          <a:xfrm>
            <a:off x="5165319" y="1443161"/>
            <a:ext cx="969010" cy="240029"/>
          </a:xfrm>
          <a:custGeom>
            <a:avLst/>
            <a:gdLst/>
            <a:ahLst/>
            <a:cxnLst/>
            <a:rect l="l" t="t" r="r" b="b"/>
            <a:pathLst>
              <a:path w="969010" h="240030">
                <a:moveTo>
                  <a:pt x="968723" y="0"/>
                </a:moveTo>
                <a:lnTo>
                  <a:pt x="0" y="0"/>
                </a:lnTo>
                <a:lnTo>
                  <a:pt x="630929" y="239942"/>
                </a:lnTo>
                <a:lnTo>
                  <a:pt x="968723" y="0"/>
                </a:lnTo>
                <a:close/>
              </a:path>
            </a:pathLst>
          </a:custGeom>
          <a:solidFill>
            <a:srgbClr val="7993A8"/>
          </a:solidFill>
        </p:spPr>
        <p:txBody>
          <a:bodyPr wrap="square" lIns="0" tIns="0" rIns="0" bIns="0" rtlCol="0"/>
          <a:lstStyle/>
          <a:p>
            <a:endParaRPr/>
          </a:p>
        </p:txBody>
      </p:sp>
      <p:sp>
        <p:nvSpPr>
          <p:cNvPr id="60" name="object 60"/>
          <p:cNvSpPr/>
          <p:nvPr/>
        </p:nvSpPr>
        <p:spPr>
          <a:xfrm>
            <a:off x="5125278" y="2688712"/>
            <a:ext cx="237490" cy="509905"/>
          </a:xfrm>
          <a:custGeom>
            <a:avLst/>
            <a:gdLst/>
            <a:ahLst/>
            <a:cxnLst/>
            <a:rect l="l" t="t" r="r" b="b"/>
            <a:pathLst>
              <a:path w="237489" h="509905">
                <a:moveTo>
                  <a:pt x="0" y="0"/>
                </a:moveTo>
                <a:lnTo>
                  <a:pt x="0" y="362873"/>
                </a:lnTo>
                <a:lnTo>
                  <a:pt x="229644" y="509499"/>
                </a:lnTo>
                <a:lnTo>
                  <a:pt x="237004" y="84423"/>
                </a:lnTo>
                <a:lnTo>
                  <a:pt x="0" y="0"/>
                </a:lnTo>
                <a:close/>
              </a:path>
            </a:pathLst>
          </a:custGeom>
          <a:solidFill>
            <a:srgbClr val="FFCC80"/>
          </a:solidFill>
        </p:spPr>
        <p:txBody>
          <a:bodyPr wrap="square" lIns="0" tIns="0" rIns="0" bIns="0" rtlCol="0"/>
          <a:lstStyle/>
          <a:p>
            <a:endParaRPr/>
          </a:p>
        </p:txBody>
      </p:sp>
      <p:sp>
        <p:nvSpPr>
          <p:cNvPr id="61" name="object 61"/>
          <p:cNvSpPr/>
          <p:nvPr/>
        </p:nvSpPr>
        <p:spPr>
          <a:xfrm>
            <a:off x="5390473" y="2993817"/>
            <a:ext cx="313055" cy="424180"/>
          </a:xfrm>
          <a:custGeom>
            <a:avLst/>
            <a:gdLst/>
            <a:ahLst/>
            <a:cxnLst/>
            <a:rect l="l" t="t" r="r" b="b"/>
            <a:pathLst>
              <a:path w="313054" h="424179">
                <a:moveTo>
                  <a:pt x="0" y="0"/>
                </a:moveTo>
                <a:lnTo>
                  <a:pt x="0" y="265110"/>
                </a:lnTo>
                <a:lnTo>
                  <a:pt x="268064" y="423589"/>
                </a:lnTo>
                <a:lnTo>
                  <a:pt x="312471" y="125891"/>
                </a:lnTo>
                <a:lnTo>
                  <a:pt x="0" y="0"/>
                </a:lnTo>
                <a:close/>
              </a:path>
            </a:pathLst>
          </a:custGeom>
          <a:solidFill>
            <a:srgbClr val="FFCC80"/>
          </a:solidFill>
        </p:spPr>
        <p:txBody>
          <a:bodyPr wrap="square" lIns="0" tIns="0" rIns="0" bIns="0" rtlCol="0"/>
          <a:lstStyle/>
          <a:p>
            <a:endParaRPr/>
          </a:p>
        </p:txBody>
      </p:sp>
      <p:sp>
        <p:nvSpPr>
          <p:cNvPr id="62" name="object 62"/>
          <p:cNvSpPr/>
          <p:nvPr/>
        </p:nvSpPr>
        <p:spPr>
          <a:xfrm>
            <a:off x="5116421" y="2586515"/>
            <a:ext cx="367665" cy="253365"/>
          </a:xfrm>
          <a:custGeom>
            <a:avLst/>
            <a:gdLst/>
            <a:ahLst/>
            <a:cxnLst/>
            <a:rect l="l" t="t" r="r" b="b"/>
            <a:pathLst>
              <a:path w="367664" h="253364">
                <a:moveTo>
                  <a:pt x="142202" y="0"/>
                </a:moveTo>
                <a:lnTo>
                  <a:pt x="0" y="109604"/>
                </a:lnTo>
                <a:lnTo>
                  <a:pt x="234010" y="253269"/>
                </a:lnTo>
                <a:lnTo>
                  <a:pt x="367356" y="125891"/>
                </a:lnTo>
                <a:lnTo>
                  <a:pt x="142202" y="0"/>
                </a:lnTo>
                <a:close/>
              </a:path>
            </a:pathLst>
          </a:custGeom>
          <a:solidFill>
            <a:srgbClr val="E68033"/>
          </a:solidFill>
        </p:spPr>
        <p:txBody>
          <a:bodyPr wrap="square" lIns="0" tIns="0" rIns="0" bIns="0" rtlCol="0"/>
          <a:lstStyle/>
          <a:p>
            <a:endParaRPr/>
          </a:p>
        </p:txBody>
      </p:sp>
      <p:sp>
        <p:nvSpPr>
          <p:cNvPr id="63" name="object 63"/>
          <p:cNvSpPr/>
          <p:nvPr/>
        </p:nvSpPr>
        <p:spPr>
          <a:xfrm>
            <a:off x="5357916" y="2944942"/>
            <a:ext cx="546735" cy="229870"/>
          </a:xfrm>
          <a:custGeom>
            <a:avLst/>
            <a:gdLst/>
            <a:ahLst/>
            <a:cxnLst/>
            <a:rect l="l" t="t" r="r" b="b"/>
            <a:pathLst>
              <a:path w="546735" h="229869">
                <a:moveTo>
                  <a:pt x="68107" y="0"/>
                </a:moveTo>
                <a:lnTo>
                  <a:pt x="0" y="57756"/>
                </a:lnTo>
                <a:lnTo>
                  <a:pt x="321327" y="229562"/>
                </a:lnTo>
                <a:lnTo>
                  <a:pt x="546481" y="19247"/>
                </a:lnTo>
                <a:lnTo>
                  <a:pt x="68107" y="0"/>
                </a:lnTo>
                <a:close/>
              </a:path>
            </a:pathLst>
          </a:custGeom>
          <a:solidFill>
            <a:srgbClr val="E68033"/>
          </a:solidFill>
        </p:spPr>
        <p:txBody>
          <a:bodyPr wrap="square" lIns="0" tIns="0" rIns="0" bIns="0" rtlCol="0"/>
          <a:lstStyle/>
          <a:p>
            <a:endParaRPr/>
          </a:p>
        </p:txBody>
      </p:sp>
      <p:sp>
        <p:nvSpPr>
          <p:cNvPr id="64" name="object 64"/>
          <p:cNvSpPr/>
          <p:nvPr/>
        </p:nvSpPr>
        <p:spPr>
          <a:xfrm>
            <a:off x="5069021" y="1992617"/>
            <a:ext cx="222250" cy="410209"/>
          </a:xfrm>
          <a:custGeom>
            <a:avLst/>
            <a:gdLst/>
            <a:ahLst/>
            <a:cxnLst/>
            <a:rect l="l" t="t" r="r" b="b"/>
            <a:pathLst>
              <a:path w="222250" h="410210">
                <a:moveTo>
                  <a:pt x="4490" y="0"/>
                </a:moveTo>
                <a:lnTo>
                  <a:pt x="0" y="288780"/>
                </a:lnTo>
                <a:lnTo>
                  <a:pt x="208813" y="410187"/>
                </a:lnTo>
                <a:lnTo>
                  <a:pt x="222160" y="74068"/>
                </a:lnTo>
                <a:lnTo>
                  <a:pt x="4490" y="0"/>
                </a:lnTo>
                <a:close/>
              </a:path>
            </a:pathLst>
          </a:custGeom>
          <a:solidFill>
            <a:srgbClr val="FFCC80"/>
          </a:solidFill>
        </p:spPr>
        <p:txBody>
          <a:bodyPr wrap="square" lIns="0" tIns="0" rIns="0" bIns="0" rtlCol="0"/>
          <a:lstStyle/>
          <a:p>
            <a:endParaRPr/>
          </a:p>
        </p:txBody>
      </p:sp>
      <p:sp>
        <p:nvSpPr>
          <p:cNvPr id="65" name="object 65"/>
          <p:cNvSpPr/>
          <p:nvPr/>
        </p:nvSpPr>
        <p:spPr>
          <a:xfrm>
            <a:off x="5417167" y="2225190"/>
            <a:ext cx="238760" cy="365760"/>
          </a:xfrm>
          <a:custGeom>
            <a:avLst/>
            <a:gdLst/>
            <a:ahLst/>
            <a:cxnLst/>
            <a:rect l="l" t="t" r="r" b="b"/>
            <a:pathLst>
              <a:path w="238760" h="365760">
                <a:moveTo>
                  <a:pt x="0" y="0"/>
                </a:moveTo>
                <a:lnTo>
                  <a:pt x="0" y="269507"/>
                </a:lnTo>
                <a:lnTo>
                  <a:pt x="179125" y="365771"/>
                </a:lnTo>
                <a:lnTo>
                  <a:pt x="238376" y="93303"/>
                </a:lnTo>
                <a:lnTo>
                  <a:pt x="0" y="0"/>
                </a:lnTo>
                <a:close/>
              </a:path>
            </a:pathLst>
          </a:custGeom>
          <a:solidFill>
            <a:srgbClr val="FFCC80"/>
          </a:solidFill>
        </p:spPr>
        <p:txBody>
          <a:bodyPr wrap="square" lIns="0" tIns="0" rIns="0" bIns="0" rtlCol="0"/>
          <a:lstStyle/>
          <a:p>
            <a:endParaRPr/>
          </a:p>
        </p:txBody>
      </p:sp>
      <p:sp>
        <p:nvSpPr>
          <p:cNvPr id="66" name="object 66"/>
          <p:cNvSpPr/>
          <p:nvPr/>
        </p:nvSpPr>
        <p:spPr>
          <a:xfrm>
            <a:off x="5069021" y="1880078"/>
            <a:ext cx="434340" cy="234315"/>
          </a:xfrm>
          <a:custGeom>
            <a:avLst/>
            <a:gdLst/>
            <a:ahLst/>
            <a:cxnLst/>
            <a:rect l="l" t="t" r="r" b="b"/>
            <a:pathLst>
              <a:path w="434339" h="234314">
                <a:moveTo>
                  <a:pt x="217794" y="0"/>
                </a:moveTo>
                <a:lnTo>
                  <a:pt x="0" y="124405"/>
                </a:lnTo>
                <a:lnTo>
                  <a:pt x="205944" y="233946"/>
                </a:lnTo>
                <a:lnTo>
                  <a:pt x="433967" y="96176"/>
                </a:lnTo>
                <a:lnTo>
                  <a:pt x="217794" y="0"/>
                </a:lnTo>
                <a:close/>
              </a:path>
            </a:pathLst>
          </a:custGeom>
          <a:solidFill>
            <a:srgbClr val="E68033"/>
          </a:solidFill>
        </p:spPr>
        <p:txBody>
          <a:bodyPr wrap="square" lIns="0" tIns="0" rIns="0" bIns="0" rtlCol="0"/>
          <a:lstStyle/>
          <a:p>
            <a:endParaRPr/>
          </a:p>
        </p:txBody>
      </p:sp>
      <p:sp>
        <p:nvSpPr>
          <p:cNvPr id="67" name="object 67"/>
          <p:cNvSpPr/>
          <p:nvPr/>
        </p:nvSpPr>
        <p:spPr>
          <a:xfrm>
            <a:off x="5390473" y="2118521"/>
            <a:ext cx="457834" cy="273050"/>
          </a:xfrm>
          <a:custGeom>
            <a:avLst/>
            <a:gdLst/>
            <a:ahLst/>
            <a:cxnLst/>
            <a:rect l="l" t="t" r="r" b="b"/>
            <a:pathLst>
              <a:path w="457835" h="273050">
                <a:moveTo>
                  <a:pt x="208813" y="0"/>
                </a:moveTo>
                <a:lnTo>
                  <a:pt x="0" y="130275"/>
                </a:lnTo>
                <a:lnTo>
                  <a:pt x="232513" y="272542"/>
                </a:lnTo>
                <a:lnTo>
                  <a:pt x="457667" y="151010"/>
                </a:lnTo>
                <a:lnTo>
                  <a:pt x="208813" y="0"/>
                </a:lnTo>
                <a:close/>
              </a:path>
            </a:pathLst>
          </a:custGeom>
          <a:solidFill>
            <a:srgbClr val="E68033"/>
          </a:solidFill>
        </p:spPr>
        <p:txBody>
          <a:bodyPr wrap="square" lIns="0" tIns="0" rIns="0" bIns="0" rtlCol="0"/>
          <a:lstStyle/>
          <a:p>
            <a:endParaRPr/>
          </a:p>
        </p:txBody>
      </p:sp>
      <p:sp>
        <p:nvSpPr>
          <p:cNvPr id="68" name="object 68"/>
          <p:cNvSpPr/>
          <p:nvPr/>
        </p:nvSpPr>
        <p:spPr>
          <a:xfrm>
            <a:off x="5258624" y="1564568"/>
            <a:ext cx="880110" cy="1031240"/>
          </a:xfrm>
          <a:custGeom>
            <a:avLst/>
            <a:gdLst/>
            <a:ahLst/>
            <a:cxnLst/>
            <a:rect l="l" t="t" r="r" b="b"/>
            <a:pathLst>
              <a:path w="880110" h="1031239">
                <a:moveTo>
                  <a:pt x="875857" y="616155"/>
                </a:moveTo>
                <a:lnTo>
                  <a:pt x="309602" y="616155"/>
                </a:lnTo>
                <a:lnTo>
                  <a:pt x="491721" y="693097"/>
                </a:lnTo>
                <a:lnTo>
                  <a:pt x="333302" y="814629"/>
                </a:lnTo>
                <a:lnTo>
                  <a:pt x="333302" y="1030840"/>
                </a:lnTo>
                <a:lnTo>
                  <a:pt x="512552" y="870874"/>
                </a:lnTo>
                <a:lnTo>
                  <a:pt x="525899" y="823497"/>
                </a:lnTo>
                <a:lnTo>
                  <a:pt x="616628" y="823497"/>
                </a:lnTo>
                <a:lnTo>
                  <a:pt x="748059" y="704963"/>
                </a:lnTo>
                <a:lnTo>
                  <a:pt x="814648" y="704963"/>
                </a:lnTo>
                <a:lnTo>
                  <a:pt x="875418" y="648756"/>
                </a:lnTo>
                <a:lnTo>
                  <a:pt x="875857" y="616155"/>
                </a:lnTo>
                <a:close/>
              </a:path>
              <a:path w="880110" h="1031239">
                <a:moveTo>
                  <a:pt x="616628" y="823497"/>
                </a:moveTo>
                <a:lnTo>
                  <a:pt x="525899" y="823497"/>
                </a:lnTo>
                <a:lnTo>
                  <a:pt x="582156" y="854586"/>
                </a:lnTo>
                <a:lnTo>
                  <a:pt x="616628" y="823497"/>
                </a:lnTo>
                <a:close/>
              </a:path>
              <a:path w="880110" h="1031239">
                <a:moveTo>
                  <a:pt x="349518" y="102172"/>
                </a:moveTo>
                <a:lnTo>
                  <a:pt x="349518" y="188106"/>
                </a:lnTo>
                <a:lnTo>
                  <a:pt x="139208" y="284408"/>
                </a:lnTo>
                <a:lnTo>
                  <a:pt x="139208" y="362848"/>
                </a:lnTo>
                <a:lnTo>
                  <a:pt x="225153" y="408813"/>
                </a:lnTo>
                <a:lnTo>
                  <a:pt x="0" y="537590"/>
                </a:lnTo>
                <a:lnTo>
                  <a:pt x="16340" y="842733"/>
                </a:lnTo>
                <a:lnTo>
                  <a:pt x="155549" y="770163"/>
                </a:lnTo>
                <a:lnTo>
                  <a:pt x="155549" y="704963"/>
                </a:lnTo>
                <a:lnTo>
                  <a:pt x="309602" y="616155"/>
                </a:lnTo>
                <a:lnTo>
                  <a:pt x="875857" y="616155"/>
                </a:lnTo>
                <a:lnTo>
                  <a:pt x="879909" y="315509"/>
                </a:lnTo>
                <a:lnTo>
                  <a:pt x="823526" y="276914"/>
                </a:lnTo>
                <a:lnTo>
                  <a:pt x="823526" y="167372"/>
                </a:lnTo>
                <a:lnTo>
                  <a:pt x="519912" y="167372"/>
                </a:lnTo>
                <a:lnTo>
                  <a:pt x="349518" y="102172"/>
                </a:lnTo>
                <a:close/>
              </a:path>
              <a:path w="880110" h="1031239">
                <a:moveTo>
                  <a:pt x="814648" y="704963"/>
                </a:moveTo>
                <a:lnTo>
                  <a:pt x="748059" y="704963"/>
                </a:lnTo>
                <a:lnTo>
                  <a:pt x="796957" y="721325"/>
                </a:lnTo>
                <a:lnTo>
                  <a:pt x="814648" y="704963"/>
                </a:lnTo>
                <a:close/>
              </a:path>
              <a:path w="880110" h="1031239">
                <a:moveTo>
                  <a:pt x="823526" y="0"/>
                </a:moveTo>
                <a:lnTo>
                  <a:pt x="519912" y="167372"/>
                </a:lnTo>
                <a:lnTo>
                  <a:pt x="823526" y="167372"/>
                </a:lnTo>
                <a:lnTo>
                  <a:pt x="823526" y="0"/>
                </a:lnTo>
                <a:close/>
              </a:path>
            </a:pathLst>
          </a:custGeom>
          <a:solidFill>
            <a:srgbClr val="914D36"/>
          </a:solidFill>
        </p:spPr>
        <p:txBody>
          <a:bodyPr wrap="square" lIns="0" tIns="0" rIns="0" bIns="0" rtlCol="0"/>
          <a:lstStyle/>
          <a:p>
            <a:endParaRPr/>
          </a:p>
        </p:txBody>
      </p:sp>
      <p:sp>
        <p:nvSpPr>
          <p:cNvPr id="69" name="object 69"/>
          <p:cNvSpPr/>
          <p:nvPr/>
        </p:nvSpPr>
        <p:spPr>
          <a:xfrm>
            <a:off x="5646687" y="1918549"/>
            <a:ext cx="138430" cy="252095"/>
          </a:xfrm>
          <a:custGeom>
            <a:avLst/>
            <a:gdLst/>
            <a:ahLst/>
            <a:cxnLst/>
            <a:rect l="l" t="t" r="r" b="b"/>
            <a:pathLst>
              <a:path w="138429" h="252094">
                <a:moveTo>
                  <a:pt x="4490" y="0"/>
                </a:moveTo>
                <a:lnTo>
                  <a:pt x="0" y="71070"/>
                </a:lnTo>
                <a:lnTo>
                  <a:pt x="44407" y="90306"/>
                </a:lnTo>
                <a:lnTo>
                  <a:pt x="44407" y="199972"/>
                </a:lnTo>
                <a:lnTo>
                  <a:pt x="137836" y="251808"/>
                </a:lnTo>
                <a:lnTo>
                  <a:pt x="137836" y="48837"/>
                </a:lnTo>
                <a:lnTo>
                  <a:pt x="4490" y="0"/>
                </a:lnTo>
                <a:close/>
              </a:path>
            </a:pathLst>
          </a:custGeom>
          <a:solidFill>
            <a:srgbClr val="E68033"/>
          </a:solidFill>
        </p:spPr>
        <p:txBody>
          <a:bodyPr wrap="square" lIns="0" tIns="0" rIns="0" bIns="0" rtlCol="0"/>
          <a:lstStyle/>
          <a:p>
            <a:endParaRPr/>
          </a:p>
        </p:txBody>
      </p:sp>
      <p:sp>
        <p:nvSpPr>
          <p:cNvPr id="70" name="object 70"/>
          <p:cNvSpPr/>
          <p:nvPr/>
        </p:nvSpPr>
        <p:spPr>
          <a:xfrm>
            <a:off x="5224570" y="2550967"/>
            <a:ext cx="909955" cy="871219"/>
          </a:xfrm>
          <a:custGeom>
            <a:avLst/>
            <a:gdLst/>
            <a:ahLst/>
            <a:cxnLst/>
            <a:rect l="l" t="t" r="r" b="b"/>
            <a:pathLst>
              <a:path w="909954" h="871220">
                <a:moveTo>
                  <a:pt x="909472" y="435443"/>
                </a:moveTo>
                <a:lnTo>
                  <a:pt x="219166" y="435443"/>
                </a:lnTo>
                <a:lnTo>
                  <a:pt x="586522" y="462110"/>
                </a:lnTo>
                <a:lnTo>
                  <a:pt x="433967" y="605763"/>
                </a:lnTo>
                <a:lnTo>
                  <a:pt x="433967" y="870886"/>
                </a:lnTo>
                <a:lnTo>
                  <a:pt x="608726" y="724261"/>
                </a:lnTo>
                <a:lnTo>
                  <a:pt x="619079" y="610210"/>
                </a:lnTo>
                <a:lnTo>
                  <a:pt x="760368" y="610210"/>
                </a:lnTo>
                <a:lnTo>
                  <a:pt x="909472" y="476911"/>
                </a:lnTo>
                <a:lnTo>
                  <a:pt x="909472" y="435443"/>
                </a:lnTo>
                <a:close/>
              </a:path>
              <a:path w="909954" h="871220">
                <a:moveTo>
                  <a:pt x="53263" y="11853"/>
                </a:moveTo>
                <a:lnTo>
                  <a:pt x="0" y="53321"/>
                </a:lnTo>
                <a:lnTo>
                  <a:pt x="213303" y="177739"/>
                </a:lnTo>
                <a:lnTo>
                  <a:pt x="102161" y="254756"/>
                </a:lnTo>
                <a:lnTo>
                  <a:pt x="114011" y="647244"/>
                </a:lnTo>
                <a:lnTo>
                  <a:pt x="170393" y="626510"/>
                </a:lnTo>
                <a:lnTo>
                  <a:pt x="170393" y="462110"/>
                </a:lnTo>
                <a:lnTo>
                  <a:pt x="219166" y="435443"/>
                </a:lnTo>
                <a:lnTo>
                  <a:pt x="909472" y="435443"/>
                </a:lnTo>
                <a:lnTo>
                  <a:pt x="909472" y="288817"/>
                </a:lnTo>
                <a:lnTo>
                  <a:pt x="553965" y="288817"/>
                </a:lnTo>
                <a:lnTo>
                  <a:pt x="53263" y="11853"/>
                </a:lnTo>
                <a:close/>
              </a:path>
              <a:path w="909954" h="871220">
                <a:moveTo>
                  <a:pt x="760368" y="610210"/>
                </a:moveTo>
                <a:lnTo>
                  <a:pt x="619079" y="610210"/>
                </a:lnTo>
                <a:lnTo>
                  <a:pt x="727228" y="639837"/>
                </a:lnTo>
                <a:lnTo>
                  <a:pt x="760368" y="610210"/>
                </a:lnTo>
                <a:close/>
              </a:path>
              <a:path w="909954" h="871220">
                <a:moveTo>
                  <a:pt x="909472" y="0"/>
                </a:moveTo>
                <a:lnTo>
                  <a:pt x="553965" y="288817"/>
                </a:lnTo>
                <a:lnTo>
                  <a:pt x="909472" y="288817"/>
                </a:lnTo>
                <a:lnTo>
                  <a:pt x="909472" y="0"/>
                </a:lnTo>
                <a:close/>
              </a:path>
            </a:pathLst>
          </a:custGeom>
          <a:solidFill>
            <a:srgbClr val="914D36"/>
          </a:solidFill>
        </p:spPr>
        <p:txBody>
          <a:bodyPr wrap="square" lIns="0" tIns="0" rIns="0" bIns="0" rtlCol="0"/>
          <a:lstStyle/>
          <a:p>
            <a:endParaRPr/>
          </a:p>
        </p:txBody>
      </p:sp>
      <p:sp>
        <p:nvSpPr>
          <p:cNvPr id="71" name="object 71"/>
          <p:cNvSpPr/>
          <p:nvPr/>
        </p:nvSpPr>
        <p:spPr>
          <a:xfrm>
            <a:off x="5116421" y="2733141"/>
            <a:ext cx="115570" cy="200025"/>
          </a:xfrm>
          <a:custGeom>
            <a:avLst/>
            <a:gdLst/>
            <a:ahLst/>
            <a:cxnLst/>
            <a:rect l="l" t="t" r="r" b="b"/>
            <a:pathLst>
              <a:path w="115570" h="200025">
                <a:moveTo>
                  <a:pt x="56257" y="0"/>
                </a:moveTo>
                <a:lnTo>
                  <a:pt x="0" y="134784"/>
                </a:lnTo>
                <a:lnTo>
                  <a:pt x="0" y="199947"/>
                </a:lnTo>
                <a:lnTo>
                  <a:pt x="115508" y="37034"/>
                </a:lnTo>
                <a:lnTo>
                  <a:pt x="56257" y="0"/>
                </a:lnTo>
                <a:close/>
              </a:path>
            </a:pathLst>
          </a:custGeom>
          <a:solidFill>
            <a:srgbClr val="E68033"/>
          </a:solidFill>
        </p:spPr>
        <p:txBody>
          <a:bodyPr wrap="square" lIns="0" tIns="0" rIns="0" bIns="0" rtlCol="0"/>
          <a:lstStyle/>
          <a:p>
            <a:endParaRPr/>
          </a:p>
        </p:txBody>
      </p:sp>
      <p:sp>
        <p:nvSpPr>
          <p:cNvPr id="72" name="object 72"/>
          <p:cNvSpPr/>
          <p:nvPr/>
        </p:nvSpPr>
        <p:spPr>
          <a:xfrm>
            <a:off x="5175672" y="2672425"/>
            <a:ext cx="284480" cy="97790"/>
          </a:xfrm>
          <a:custGeom>
            <a:avLst/>
            <a:gdLst/>
            <a:ahLst/>
            <a:cxnLst/>
            <a:rect l="l" t="t" r="r" b="b"/>
            <a:pathLst>
              <a:path w="284479" h="97789">
                <a:moveTo>
                  <a:pt x="198459" y="0"/>
                </a:moveTo>
                <a:lnTo>
                  <a:pt x="0" y="60716"/>
                </a:lnTo>
                <a:lnTo>
                  <a:pt x="48897" y="97750"/>
                </a:lnTo>
                <a:lnTo>
                  <a:pt x="284404" y="56282"/>
                </a:lnTo>
                <a:lnTo>
                  <a:pt x="198459" y="0"/>
                </a:lnTo>
                <a:close/>
              </a:path>
            </a:pathLst>
          </a:custGeom>
          <a:solidFill>
            <a:srgbClr val="914D36"/>
          </a:solidFill>
        </p:spPr>
        <p:txBody>
          <a:bodyPr wrap="square" lIns="0" tIns="0" rIns="0" bIns="0" rtlCol="0"/>
          <a:lstStyle/>
          <a:p>
            <a:endParaRPr/>
          </a:p>
        </p:txBody>
      </p:sp>
      <p:sp>
        <p:nvSpPr>
          <p:cNvPr id="73" name="object 73"/>
          <p:cNvSpPr/>
          <p:nvPr/>
        </p:nvSpPr>
        <p:spPr>
          <a:xfrm>
            <a:off x="5757829" y="1443161"/>
            <a:ext cx="376555" cy="2153920"/>
          </a:xfrm>
          <a:custGeom>
            <a:avLst/>
            <a:gdLst/>
            <a:ahLst/>
            <a:cxnLst/>
            <a:rect l="l" t="t" r="r" b="b"/>
            <a:pathLst>
              <a:path w="376554" h="2153920">
                <a:moveTo>
                  <a:pt x="78460" y="0"/>
                </a:moveTo>
                <a:lnTo>
                  <a:pt x="23700" y="0"/>
                </a:lnTo>
                <a:lnTo>
                  <a:pt x="0" y="593922"/>
                </a:lnTo>
                <a:lnTo>
                  <a:pt x="23700" y="2097178"/>
                </a:lnTo>
                <a:lnTo>
                  <a:pt x="38419" y="2153459"/>
                </a:lnTo>
                <a:lnTo>
                  <a:pt x="183431" y="2027568"/>
                </a:lnTo>
                <a:lnTo>
                  <a:pt x="82951" y="2027568"/>
                </a:lnTo>
                <a:lnTo>
                  <a:pt x="82951" y="1401070"/>
                </a:lnTo>
                <a:lnTo>
                  <a:pt x="191367" y="1310726"/>
                </a:lnTo>
                <a:lnTo>
                  <a:pt x="78460" y="1310726"/>
                </a:lnTo>
                <a:lnTo>
                  <a:pt x="75467" y="276914"/>
                </a:lnTo>
                <a:lnTo>
                  <a:pt x="220127" y="183610"/>
                </a:lnTo>
                <a:lnTo>
                  <a:pt x="78460" y="183610"/>
                </a:lnTo>
                <a:lnTo>
                  <a:pt x="78460" y="0"/>
                </a:lnTo>
                <a:close/>
              </a:path>
              <a:path w="376554" h="2153920">
                <a:moveTo>
                  <a:pt x="376212" y="1783192"/>
                </a:moveTo>
                <a:lnTo>
                  <a:pt x="82951" y="2027568"/>
                </a:lnTo>
                <a:lnTo>
                  <a:pt x="183431" y="2027568"/>
                </a:lnTo>
                <a:lnTo>
                  <a:pt x="376212" y="1860208"/>
                </a:lnTo>
                <a:lnTo>
                  <a:pt x="376212" y="1783192"/>
                </a:lnTo>
                <a:close/>
              </a:path>
              <a:path w="376554" h="2153920">
                <a:moveTo>
                  <a:pt x="376212" y="1069298"/>
                </a:moveTo>
                <a:lnTo>
                  <a:pt x="78460" y="1310726"/>
                </a:lnTo>
                <a:lnTo>
                  <a:pt x="191367" y="1310726"/>
                </a:lnTo>
                <a:lnTo>
                  <a:pt x="376212" y="1156694"/>
                </a:lnTo>
                <a:lnTo>
                  <a:pt x="376212" y="1069298"/>
                </a:lnTo>
                <a:close/>
              </a:path>
              <a:path w="376554" h="2153920">
                <a:moveTo>
                  <a:pt x="376212" y="0"/>
                </a:moveTo>
                <a:lnTo>
                  <a:pt x="78460" y="183610"/>
                </a:lnTo>
                <a:lnTo>
                  <a:pt x="220127" y="183610"/>
                </a:lnTo>
                <a:lnTo>
                  <a:pt x="376212" y="82936"/>
                </a:lnTo>
                <a:lnTo>
                  <a:pt x="376212" y="0"/>
                </a:lnTo>
                <a:close/>
              </a:path>
            </a:pathLst>
          </a:custGeom>
          <a:solidFill>
            <a:srgbClr val="496979"/>
          </a:solidFill>
        </p:spPr>
        <p:txBody>
          <a:bodyPr wrap="square" lIns="0" tIns="0" rIns="0" bIns="0" rtlCol="0"/>
          <a:lstStyle/>
          <a:p>
            <a:endParaRPr/>
          </a:p>
        </p:txBody>
      </p:sp>
      <p:sp>
        <p:nvSpPr>
          <p:cNvPr id="74" name="object 74"/>
          <p:cNvSpPr/>
          <p:nvPr/>
        </p:nvSpPr>
        <p:spPr>
          <a:xfrm>
            <a:off x="4926818" y="2327362"/>
            <a:ext cx="823594" cy="554355"/>
          </a:xfrm>
          <a:custGeom>
            <a:avLst/>
            <a:gdLst/>
            <a:ahLst/>
            <a:cxnLst/>
            <a:rect l="l" t="t" r="r" b="b"/>
            <a:pathLst>
              <a:path w="823595" h="554355">
                <a:moveTo>
                  <a:pt x="19334" y="0"/>
                </a:moveTo>
                <a:lnTo>
                  <a:pt x="0" y="35472"/>
                </a:lnTo>
                <a:lnTo>
                  <a:pt x="823526" y="553890"/>
                </a:lnTo>
                <a:lnTo>
                  <a:pt x="823526" y="476874"/>
                </a:lnTo>
                <a:lnTo>
                  <a:pt x="19334" y="0"/>
                </a:lnTo>
                <a:close/>
              </a:path>
            </a:pathLst>
          </a:custGeom>
          <a:solidFill>
            <a:srgbClr val="BCC8D3"/>
          </a:solidFill>
        </p:spPr>
        <p:txBody>
          <a:bodyPr wrap="square" lIns="0" tIns="0" rIns="0" bIns="0" rtlCol="0"/>
          <a:lstStyle/>
          <a:p>
            <a:endParaRPr/>
          </a:p>
        </p:txBody>
      </p:sp>
      <p:sp>
        <p:nvSpPr>
          <p:cNvPr id="75" name="object 75"/>
          <p:cNvSpPr/>
          <p:nvPr/>
        </p:nvSpPr>
        <p:spPr>
          <a:xfrm>
            <a:off x="4898752" y="1443161"/>
            <a:ext cx="906780" cy="2171700"/>
          </a:xfrm>
          <a:custGeom>
            <a:avLst/>
            <a:gdLst/>
            <a:ahLst/>
            <a:cxnLst/>
            <a:rect l="l" t="t" r="r" b="b"/>
            <a:pathLst>
              <a:path w="906779" h="2171700">
                <a:moveTo>
                  <a:pt x="47400" y="0"/>
                </a:moveTo>
                <a:lnTo>
                  <a:pt x="0" y="0"/>
                </a:lnTo>
                <a:lnTo>
                  <a:pt x="8856" y="1595085"/>
                </a:lnTo>
                <a:lnTo>
                  <a:pt x="906478" y="2171231"/>
                </a:lnTo>
                <a:lnTo>
                  <a:pt x="905658" y="2051263"/>
                </a:lnTo>
                <a:lnTo>
                  <a:pt x="839743" y="2051263"/>
                </a:lnTo>
                <a:lnTo>
                  <a:pt x="42910" y="1561023"/>
                </a:lnTo>
                <a:lnTo>
                  <a:pt x="47400" y="0"/>
                </a:lnTo>
                <a:close/>
              </a:path>
              <a:path w="906779" h="2171700">
                <a:moveTo>
                  <a:pt x="891634" y="0"/>
                </a:moveTo>
                <a:lnTo>
                  <a:pt x="836874" y="0"/>
                </a:lnTo>
                <a:lnTo>
                  <a:pt x="839743" y="2051263"/>
                </a:lnTo>
                <a:lnTo>
                  <a:pt x="905658" y="2051263"/>
                </a:lnTo>
                <a:lnTo>
                  <a:pt x="891634" y="0"/>
                </a:lnTo>
                <a:close/>
              </a:path>
            </a:pathLst>
          </a:custGeom>
          <a:solidFill>
            <a:srgbClr val="BCC8D3"/>
          </a:solidFill>
        </p:spPr>
        <p:txBody>
          <a:bodyPr wrap="square" lIns="0" tIns="0" rIns="0" bIns="0" rtlCol="0"/>
          <a:lstStyle/>
          <a:p>
            <a:endParaRPr/>
          </a:p>
        </p:txBody>
      </p:sp>
      <p:sp>
        <p:nvSpPr>
          <p:cNvPr id="76" name="object 76"/>
          <p:cNvSpPr/>
          <p:nvPr/>
        </p:nvSpPr>
        <p:spPr>
          <a:xfrm>
            <a:off x="5085362" y="1443161"/>
            <a:ext cx="659130" cy="296545"/>
          </a:xfrm>
          <a:custGeom>
            <a:avLst/>
            <a:gdLst/>
            <a:ahLst/>
            <a:cxnLst/>
            <a:rect l="l" t="t" r="r" b="b"/>
            <a:pathLst>
              <a:path w="659129" h="296544">
                <a:moveTo>
                  <a:pt x="130352" y="0"/>
                </a:moveTo>
                <a:lnTo>
                  <a:pt x="0" y="0"/>
                </a:lnTo>
                <a:lnTo>
                  <a:pt x="659120" y="296149"/>
                </a:lnTo>
                <a:lnTo>
                  <a:pt x="657624" y="205843"/>
                </a:lnTo>
                <a:lnTo>
                  <a:pt x="130352" y="0"/>
                </a:lnTo>
                <a:close/>
              </a:path>
            </a:pathLst>
          </a:custGeom>
          <a:solidFill>
            <a:srgbClr val="BCC8D3"/>
          </a:solidFill>
        </p:spPr>
        <p:txBody>
          <a:bodyPr wrap="square" lIns="0" tIns="0" rIns="0" bIns="0" rtlCol="0"/>
          <a:lstStyle/>
          <a:p>
            <a:endParaRPr/>
          </a:p>
        </p:txBody>
      </p:sp>
      <p:sp>
        <p:nvSpPr>
          <p:cNvPr id="77" name="object 77"/>
          <p:cNvSpPr/>
          <p:nvPr/>
        </p:nvSpPr>
        <p:spPr>
          <a:xfrm>
            <a:off x="2441362" y="1736437"/>
            <a:ext cx="3303120" cy="1891284"/>
          </a:xfrm>
          <a:prstGeom prst="rect">
            <a:avLst/>
          </a:prstGeom>
          <a:blipFill>
            <a:blip r:embed="rId2" cstate="print"/>
            <a:stretch>
              <a:fillRect/>
            </a:stretch>
          </a:blipFill>
        </p:spPr>
        <p:txBody>
          <a:bodyPr wrap="square" lIns="0" tIns="0" rIns="0" bIns="0" rtlCol="0"/>
          <a:lstStyle/>
          <a:p>
            <a:endParaRPr/>
          </a:p>
        </p:txBody>
      </p:sp>
      <p:sp>
        <p:nvSpPr>
          <p:cNvPr id="78" name="object 78"/>
          <p:cNvSpPr/>
          <p:nvPr/>
        </p:nvSpPr>
        <p:spPr>
          <a:xfrm>
            <a:off x="5186026" y="1632641"/>
            <a:ext cx="29845" cy="253365"/>
          </a:xfrm>
          <a:custGeom>
            <a:avLst/>
            <a:gdLst/>
            <a:ahLst/>
            <a:cxnLst/>
            <a:rect l="l" t="t" r="r" b="b"/>
            <a:pathLst>
              <a:path w="29845" h="253364">
                <a:moveTo>
                  <a:pt x="0" y="0"/>
                </a:moveTo>
                <a:lnTo>
                  <a:pt x="2993" y="223704"/>
                </a:lnTo>
                <a:lnTo>
                  <a:pt x="29687" y="253307"/>
                </a:lnTo>
                <a:lnTo>
                  <a:pt x="25197" y="54833"/>
                </a:lnTo>
                <a:lnTo>
                  <a:pt x="0" y="0"/>
                </a:lnTo>
                <a:close/>
              </a:path>
            </a:pathLst>
          </a:custGeom>
          <a:solidFill>
            <a:srgbClr val="BCC8D3"/>
          </a:solidFill>
        </p:spPr>
        <p:txBody>
          <a:bodyPr wrap="square" lIns="0" tIns="0" rIns="0" bIns="0" rtlCol="0"/>
          <a:lstStyle/>
          <a:p>
            <a:endParaRPr/>
          </a:p>
        </p:txBody>
      </p:sp>
      <p:sp>
        <p:nvSpPr>
          <p:cNvPr id="79" name="object 79"/>
          <p:cNvSpPr/>
          <p:nvPr/>
        </p:nvSpPr>
        <p:spPr>
          <a:xfrm>
            <a:off x="5218583" y="1518603"/>
            <a:ext cx="40640" cy="397510"/>
          </a:xfrm>
          <a:custGeom>
            <a:avLst/>
            <a:gdLst/>
            <a:ahLst/>
            <a:cxnLst/>
            <a:rect l="l" t="t" r="r" b="b"/>
            <a:pathLst>
              <a:path w="40639" h="397510">
                <a:moveTo>
                  <a:pt x="0" y="0"/>
                </a:moveTo>
                <a:lnTo>
                  <a:pt x="8981" y="396947"/>
                </a:lnTo>
                <a:lnTo>
                  <a:pt x="40041" y="367345"/>
                </a:lnTo>
                <a:lnTo>
                  <a:pt x="37047" y="25230"/>
                </a:lnTo>
                <a:lnTo>
                  <a:pt x="0" y="0"/>
                </a:lnTo>
                <a:close/>
              </a:path>
            </a:pathLst>
          </a:custGeom>
          <a:solidFill>
            <a:srgbClr val="628091"/>
          </a:solidFill>
        </p:spPr>
        <p:txBody>
          <a:bodyPr wrap="square" lIns="0" tIns="0" rIns="0" bIns="0" rtlCol="0"/>
          <a:lstStyle/>
          <a:p>
            <a:endParaRPr/>
          </a:p>
        </p:txBody>
      </p:sp>
      <p:sp>
        <p:nvSpPr>
          <p:cNvPr id="81" name="object 81"/>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18</a:t>
            </a:fld>
            <a:endParaRPr sz="1200">
              <a:latin typeface="Symbol"/>
              <a:cs typeface="Symbol"/>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3950208" y="260604"/>
            <a:ext cx="886967"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prstGeom prst="rect">
            <a:avLst/>
          </a:prstGeom>
        </p:spPr>
        <p:txBody>
          <a:bodyPr vert="horz" wrap="square" lIns="0" tIns="0" rIns="0" bIns="0" rtlCol="0">
            <a:spAutoFit/>
          </a:bodyPr>
          <a:lstStyle/>
          <a:p>
            <a:pPr>
              <a:lnSpc>
                <a:spcPct val="100000"/>
              </a:lnSpc>
            </a:pPr>
            <a:r>
              <a:rPr dirty="0"/>
              <a:t>Shipping Point</a:t>
            </a:r>
          </a:p>
        </p:txBody>
      </p:sp>
      <p:sp>
        <p:nvSpPr>
          <p:cNvPr id="5" name="object 5"/>
          <p:cNvSpPr/>
          <p:nvPr/>
        </p:nvSpPr>
        <p:spPr>
          <a:xfrm>
            <a:off x="2438400" y="1207870"/>
            <a:ext cx="4366303" cy="2395724"/>
          </a:xfrm>
          <a:prstGeom prst="rect">
            <a:avLst/>
          </a:prstGeom>
          <a:blipFill>
            <a:blip r:embed="rId3" cstate="print"/>
            <a:stretch>
              <a:fillRect/>
            </a:stretch>
          </a:blipFill>
        </p:spPr>
        <p:txBody>
          <a:bodyPr wrap="square" lIns="0" tIns="0" rIns="0" bIns="0" rtlCol="0"/>
          <a:lstStyle/>
          <a:p>
            <a:endParaRPr/>
          </a:p>
        </p:txBody>
      </p:sp>
      <p:sp>
        <p:nvSpPr>
          <p:cNvPr id="6" name="object 6"/>
          <p:cNvSpPr txBox="1"/>
          <p:nvPr/>
        </p:nvSpPr>
        <p:spPr>
          <a:xfrm>
            <a:off x="383540" y="4214114"/>
            <a:ext cx="8117840" cy="1692771"/>
          </a:xfrm>
          <a:prstGeom prst="rect">
            <a:avLst/>
          </a:prstGeom>
        </p:spPr>
        <p:txBody>
          <a:bodyPr vert="horz" wrap="square" lIns="0" tIns="0" rIns="0" bIns="0" rtlCol="0">
            <a:spAutoFit/>
          </a:bodyPr>
          <a:lstStyle/>
          <a:p>
            <a:pPr marL="355600" indent="-342900">
              <a:lnSpc>
                <a:spcPct val="100000"/>
              </a:lnSpc>
              <a:buClr>
                <a:srgbClr val="00B0F0"/>
              </a:buClr>
              <a:buFont typeface="Wingdings" panose="05000000000000000000" pitchFamily="2" charset="2"/>
              <a:buChar char="§"/>
            </a:pPr>
            <a:r>
              <a:rPr lang="en-US" sz="2200" spc="-5" dirty="0" smtClean="0">
                <a:latin typeface="Arial"/>
                <a:cs typeface="Arial"/>
              </a:rPr>
              <a:t>P</a:t>
            </a:r>
            <a:r>
              <a:rPr sz="2200" spc="-5" dirty="0" smtClean="0">
                <a:latin typeface="Arial"/>
                <a:cs typeface="Arial"/>
              </a:rPr>
              <a:t>art </a:t>
            </a:r>
            <a:r>
              <a:rPr sz="2200" spc="-5" dirty="0">
                <a:latin typeface="Arial"/>
                <a:cs typeface="Arial"/>
              </a:rPr>
              <a:t>of the company responsible for the type </a:t>
            </a:r>
            <a:r>
              <a:rPr sz="2200" spc="-5" dirty="0" smtClean="0">
                <a:latin typeface="Arial"/>
                <a:cs typeface="Arial"/>
              </a:rPr>
              <a:t>of</a:t>
            </a:r>
            <a:r>
              <a:rPr lang="en-US" sz="2200" spc="-5" dirty="0" smtClean="0">
                <a:latin typeface="Arial"/>
                <a:cs typeface="Arial"/>
              </a:rPr>
              <a:t> </a:t>
            </a:r>
            <a:r>
              <a:rPr sz="2200" spc="-5" dirty="0" smtClean="0">
                <a:latin typeface="Arial"/>
                <a:cs typeface="Arial"/>
              </a:rPr>
              <a:t>shipping</a:t>
            </a:r>
            <a:r>
              <a:rPr sz="2200" spc="-5" dirty="0">
                <a:latin typeface="Arial"/>
                <a:cs typeface="Arial"/>
              </a:rPr>
              <a:t>, the necessary shipping materials and the means of </a:t>
            </a:r>
            <a:r>
              <a:rPr sz="2200" spc="-5" dirty="0" smtClean="0">
                <a:latin typeface="Arial"/>
                <a:cs typeface="Arial"/>
              </a:rPr>
              <a:t>transport</a:t>
            </a:r>
            <a:endParaRPr sz="2200" spc="-5" dirty="0">
              <a:latin typeface="Arial"/>
              <a:cs typeface="Arial"/>
            </a:endParaRPr>
          </a:p>
          <a:p>
            <a:pPr marL="355600" indent="-342900">
              <a:lnSpc>
                <a:spcPct val="100000"/>
              </a:lnSpc>
              <a:spcBef>
                <a:spcPts val="30"/>
              </a:spcBef>
              <a:buClr>
                <a:srgbClr val="00B0F0"/>
              </a:buClr>
              <a:buFont typeface="Wingdings" panose="05000000000000000000" pitchFamily="2" charset="2"/>
              <a:buChar char="§"/>
            </a:pPr>
            <a:endParaRPr sz="2200" spc="-5" dirty="0">
              <a:latin typeface="Arial"/>
              <a:cs typeface="Arial"/>
            </a:endParaRPr>
          </a:p>
          <a:p>
            <a:pPr marL="355600" marR="5080" indent="-342900">
              <a:lnSpc>
                <a:spcPct val="100000"/>
              </a:lnSpc>
              <a:buClr>
                <a:srgbClr val="00B0F0"/>
              </a:buClr>
              <a:buFont typeface="Wingdings" panose="05000000000000000000" pitchFamily="2" charset="2"/>
              <a:buChar char="§"/>
            </a:pPr>
            <a:r>
              <a:rPr sz="2200" spc="-5" dirty="0" smtClean="0">
                <a:latin typeface="Arial"/>
                <a:cs typeface="Arial"/>
              </a:rPr>
              <a:t>For </a:t>
            </a:r>
            <a:r>
              <a:rPr sz="2200" spc="-5" dirty="0">
                <a:latin typeface="Arial"/>
                <a:cs typeface="Arial"/>
              </a:rPr>
              <a:t>example, a Shipping Point can be a company’s mail depot or plant rail  station</a:t>
            </a:r>
          </a:p>
        </p:txBody>
      </p:sp>
      <p:sp>
        <p:nvSpPr>
          <p:cNvPr id="8" name="object 8"/>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19</a:t>
            </a:fld>
            <a:endParaRPr sz="1200">
              <a:latin typeface="Symbol"/>
              <a:cs typeface="Symbo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a:xfrm>
            <a:off x="152400" y="228600"/>
            <a:ext cx="9144000" cy="492443"/>
          </a:xfrm>
        </p:spPr>
        <p:txBody>
          <a:bodyPr/>
          <a:lstStyle/>
          <a:p>
            <a:pPr eaLnBrk="1" hangingPunct="1"/>
            <a:r>
              <a:rPr lang="en-US" altLang="en-US" sz="3200" dirty="0" smtClean="0"/>
              <a:t>Lesson Objectives</a:t>
            </a:r>
          </a:p>
        </p:txBody>
      </p:sp>
      <p:sp>
        <p:nvSpPr>
          <p:cNvPr id="33795" name="Content Placeholder 2"/>
          <p:cNvSpPr>
            <a:spLocks noGrp="1"/>
          </p:cNvSpPr>
          <p:nvPr>
            <p:ph idx="1"/>
          </p:nvPr>
        </p:nvSpPr>
        <p:spPr>
          <a:xfrm>
            <a:off x="298450" y="1495425"/>
            <a:ext cx="6794500" cy="4708981"/>
          </a:xfrm>
        </p:spPr>
        <p:txBody>
          <a:bodyPr/>
          <a:lstStyle/>
          <a:p>
            <a:pPr eaLnBrk="1" hangingPunct="1"/>
            <a:r>
              <a:rPr lang="en-US" altLang="en-US" dirty="0" smtClean="0"/>
              <a:t>Organization Structure</a:t>
            </a:r>
            <a:endParaRPr lang="en-US" altLang="en-US" dirty="0" smtClean="0">
              <a:solidFill>
                <a:schemeClr val="tx1"/>
              </a:solidFill>
            </a:endParaRPr>
          </a:p>
          <a:p>
            <a:pPr marL="742950" lvl="1" indent="-285750" eaLnBrk="1" hangingPunct="1">
              <a:buClr>
                <a:srgbClr val="C00000"/>
              </a:buClr>
              <a:buFont typeface="Arial" panose="020B0604020202020204" pitchFamily="34" charset="0"/>
              <a:buChar char="•"/>
            </a:pPr>
            <a:r>
              <a:rPr lang="en-US" altLang="en-US" dirty="0" smtClean="0">
                <a:solidFill>
                  <a:schemeClr val="tx1"/>
                </a:solidFill>
              </a:rPr>
              <a:t>Purpose</a:t>
            </a:r>
          </a:p>
          <a:p>
            <a:pPr marL="742950" lvl="1" indent="-285750" eaLnBrk="1" hangingPunct="1">
              <a:buClr>
                <a:srgbClr val="C00000"/>
              </a:buClr>
              <a:buFont typeface="Arial" panose="020B0604020202020204" pitchFamily="34" charset="0"/>
              <a:buChar char="•"/>
            </a:pPr>
            <a:r>
              <a:rPr lang="en-US" altLang="en-US" dirty="0" smtClean="0">
                <a:solidFill>
                  <a:schemeClr val="tx1"/>
                </a:solidFill>
              </a:rPr>
              <a:t>Use</a:t>
            </a:r>
          </a:p>
          <a:p>
            <a:pPr marL="742950" lvl="1" indent="-285750" eaLnBrk="1" hangingPunct="1">
              <a:buClr>
                <a:srgbClr val="C00000"/>
              </a:buClr>
              <a:buFont typeface="Arial" panose="020B0604020202020204" pitchFamily="34" charset="0"/>
              <a:buChar char="•"/>
            </a:pPr>
            <a:r>
              <a:rPr lang="en-US" altLang="en-US" dirty="0" smtClean="0">
                <a:solidFill>
                  <a:schemeClr val="tx1"/>
                </a:solidFill>
              </a:rPr>
              <a:t>Challenges</a:t>
            </a:r>
          </a:p>
          <a:p>
            <a:pPr eaLnBrk="1" hangingPunct="1"/>
            <a:r>
              <a:rPr lang="en-US" altLang="en-US" dirty="0" smtClean="0"/>
              <a:t>Definition of Organizational Units</a:t>
            </a:r>
          </a:p>
          <a:p>
            <a:pPr marL="742950" lvl="1" indent="-285750">
              <a:buClr>
                <a:srgbClr val="C00000"/>
              </a:buClr>
              <a:buFont typeface="Arial" panose="020B0604020202020204" pitchFamily="34" charset="0"/>
              <a:buChar char="•"/>
            </a:pPr>
            <a:r>
              <a:rPr lang="en-US" altLang="en-US" dirty="0" smtClean="0">
                <a:solidFill>
                  <a:schemeClr val="tx1"/>
                </a:solidFill>
              </a:rPr>
              <a:t>Client</a:t>
            </a:r>
          </a:p>
          <a:p>
            <a:pPr marL="742950" lvl="1" indent="-285750">
              <a:buClr>
                <a:srgbClr val="C00000"/>
              </a:buClr>
              <a:buFont typeface="Arial" panose="020B0604020202020204" pitchFamily="34" charset="0"/>
              <a:buChar char="•"/>
            </a:pPr>
            <a:r>
              <a:rPr lang="en-US" altLang="en-US" dirty="0" smtClean="0">
                <a:solidFill>
                  <a:schemeClr val="tx1"/>
                </a:solidFill>
              </a:rPr>
              <a:t>Company Code</a:t>
            </a:r>
          </a:p>
          <a:p>
            <a:pPr marL="742950" lvl="1" indent="-285750">
              <a:buClr>
                <a:srgbClr val="C00000"/>
              </a:buClr>
              <a:buFont typeface="Arial" panose="020B0604020202020204" pitchFamily="34" charset="0"/>
              <a:buChar char="•"/>
            </a:pPr>
            <a:r>
              <a:rPr lang="en-US" altLang="en-US" dirty="0" smtClean="0">
                <a:solidFill>
                  <a:schemeClr val="tx1"/>
                </a:solidFill>
              </a:rPr>
              <a:t>Sales Organization</a:t>
            </a:r>
          </a:p>
          <a:p>
            <a:pPr marL="742950" lvl="1" indent="-285750">
              <a:buClr>
                <a:srgbClr val="C00000"/>
              </a:buClr>
              <a:buFont typeface="Arial" panose="020B0604020202020204" pitchFamily="34" charset="0"/>
              <a:buChar char="•"/>
            </a:pPr>
            <a:r>
              <a:rPr lang="en-US" altLang="en-US" dirty="0" smtClean="0">
                <a:solidFill>
                  <a:schemeClr val="tx1"/>
                </a:solidFill>
              </a:rPr>
              <a:t>Distribution Channel</a:t>
            </a:r>
          </a:p>
          <a:p>
            <a:pPr marL="742950" lvl="1" indent="-285750">
              <a:buClr>
                <a:srgbClr val="C00000"/>
              </a:buClr>
              <a:buFont typeface="Arial" panose="020B0604020202020204" pitchFamily="34" charset="0"/>
              <a:buChar char="•"/>
            </a:pPr>
            <a:r>
              <a:rPr lang="en-US" altLang="en-US" dirty="0" smtClean="0">
                <a:solidFill>
                  <a:schemeClr val="tx1"/>
                </a:solidFill>
              </a:rPr>
              <a:t>Division</a:t>
            </a:r>
          </a:p>
          <a:p>
            <a:pPr marL="742950" lvl="1" indent="-285750">
              <a:buClr>
                <a:srgbClr val="C00000"/>
              </a:buClr>
              <a:buFont typeface="Arial" panose="020B0604020202020204" pitchFamily="34" charset="0"/>
              <a:buChar char="•"/>
            </a:pPr>
            <a:r>
              <a:rPr lang="en-US" altLang="en-US" dirty="0" smtClean="0">
                <a:solidFill>
                  <a:schemeClr val="tx1"/>
                </a:solidFill>
              </a:rPr>
              <a:t>Sales Office</a:t>
            </a:r>
          </a:p>
          <a:p>
            <a:pPr marL="742950" lvl="1" indent="-285750">
              <a:buClr>
                <a:srgbClr val="C00000"/>
              </a:buClr>
              <a:buFont typeface="Arial" panose="020B0604020202020204" pitchFamily="34" charset="0"/>
              <a:buChar char="•"/>
            </a:pPr>
            <a:r>
              <a:rPr lang="en-US" altLang="en-US" dirty="0" smtClean="0">
                <a:solidFill>
                  <a:schemeClr val="tx1"/>
                </a:solidFill>
              </a:rPr>
              <a:t>Sales Group</a:t>
            </a:r>
          </a:p>
          <a:p>
            <a:pPr marL="742950" lvl="1" indent="-285750">
              <a:buClr>
                <a:srgbClr val="C00000"/>
              </a:buClr>
              <a:buFont typeface="Arial" panose="020B0604020202020204" pitchFamily="34" charset="0"/>
              <a:buChar char="•"/>
            </a:pPr>
            <a:r>
              <a:rPr lang="en-US" altLang="en-US" dirty="0" smtClean="0">
                <a:solidFill>
                  <a:schemeClr val="tx1"/>
                </a:solidFill>
              </a:rPr>
              <a:t>Plant </a:t>
            </a:r>
          </a:p>
          <a:p>
            <a:pPr marL="742950" lvl="1" indent="-285750">
              <a:buClr>
                <a:srgbClr val="C00000"/>
              </a:buClr>
              <a:buFont typeface="Arial" panose="020B0604020202020204" pitchFamily="34" charset="0"/>
              <a:buChar char="•"/>
            </a:pPr>
            <a:r>
              <a:rPr lang="en-US" altLang="en-US" dirty="0" smtClean="0">
                <a:solidFill>
                  <a:schemeClr val="tx1"/>
                </a:solidFill>
              </a:rPr>
              <a:t>Storage Location</a:t>
            </a:r>
          </a:p>
          <a:p>
            <a:pPr marL="742950" lvl="1" indent="-285750">
              <a:buClr>
                <a:srgbClr val="C00000"/>
              </a:buClr>
              <a:buFont typeface="Arial" panose="020B0604020202020204" pitchFamily="34" charset="0"/>
              <a:buChar char="•"/>
            </a:pPr>
            <a:r>
              <a:rPr lang="en-US" altLang="en-US" dirty="0" smtClean="0">
                <a:solidFill>
                  <a:schemeClr val="tx1"/>
                </a:solidFill>
              </a:rPr>
              <a:t>Shipping Point</a:t>
            </a:r>
          </a:p>
          <a:p>
            <a:pPr marL="0" indent="0" eaLnBrk="1" hangingPunct="1">
              <a:buNone/>
            </a:pPr>
            <a:r>
              <a:rPr lang="en-US" altLang="en-US" dirty="0" smtClean="0"/>
              <a:t>	</a:t>
            </a:r>
          </a:p>
        </p:txBody>
      </p:sp>
    </p:spTree>
    <p:extLst>
      <p:ext uri="{BB962C8B-B14F-4D97-AF65-F5344CB8AC3E}">
        <p14:creationId xmlns:p14="http://schemas.microsoft.com/office/powerpoint/2010/main" xmlns="" val="200085799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8586216" y="295656"/>
            <a:ext cx="557783" cy="819912"/>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249465" y="193357"/>
            <a:ext cx="8582660" cy="492443"/>
          </a:xfrm>
          <a:prstGeom prst="rect">
            <a:avLst/>
          </a:prstGeom>
        </p:spPr>
        <p:txBody>
          <a:bodyPr vert="horz" wrap="square" lIns="0" tIns="0" rIns="0" bIns="0" rtlCol="0">
            <a:spAutoFit/>
          </a:bodyPr>
          <a:lstStyle/>
          <a:p>
            <a:r>
              <a:rPr dirty="0"/>
              <a:t>Assignment of Organizational units</a:t>
            </a:r>
          </a:p>
        </p:txBody>
      </p:sp>
      <p:sp>
        <p:nvSpPr>
          <p:cNvPr id="5" name="object 5"/>
          <p:cNvSpPr txBox="1"/>
          <p:nvPr/>
        </p:nvSpPr>
        <p:spPr>
          <a:xfrm>
            <a:off x="612140" y="1333753"/>
            <a:ext cx="7980045" cy="4062651"/>
          </a:xfrm>
          <a:prstGeom prst="rect">
            <a:avLst/>
          </a:prstGeom>
        </p:spPr>
        <p:txBody>
          <a:bodyPr vert="horz" wrap="square" lIns="0" tIns="0" rIns="0" bIns="0" rtlCol="0">
            <a:spAutoFit/>
          </a:bodyPr>
          <a:lstStyle/>
          <a:p>
            <a:pPr marL="355600" marR="5080" indent="-342900">
              <a:buClr>
                <a:srgbClr val="00B0F0"/>
              </a:buClr>
              <a:buFont typeface="Wingdings" panose="05000000000000000000" pitchFamily="2" charset="2"/>
              <a:buChar char="§"/>
            </a:pPr>
            <a:r>
              <a:rPr sz="2200" spc="-5" dirty="0">
                <a:latin typeface="Arial"/>
                <a:cs typeface="Arial"/>
              </a:rPr>
              <a:t>In SAP R/3 you represent Organizational Structure as legal  and logical representing the hierarchy of your company by  assigning the organizational units which represent  individual departments</a:t>
            </a:r>
          </a:p>
          <a:p>
            <a:pPr marL="355600" indent="-342900">
              <a:spcBef>
                <a:spcPts val="35"/>
              </a:spcBef>
              <a:buClr>
                <a:srgbClr val="00B0F0"/>
              </a:buClr>
              <a:buFont typeface="Wingdings" panose="05000000000000000000" pitchFamily="2" charset="2"/>
              <a:buChar char="§"/>
            </a:pPr>
            <a:endParaRPr sz="2200" spc="-5" dirty="0">
              <a:latin typeface="Arial"/>
              <a:cs typeface="Arial"/>
            </a:endParaRPr>
          </a:p>
          <a:p>
            <a:pPr marL="355600" marR="3428365" indent="-342900">
              <a:buClr>
                <a:srgbClr val="00B0F0"/>
              </a:buClr>
              <a:buFont typeface="Wingdings" panose="05000000000000000000" pitchFamily="2" charset="2"/>
              <a:buChar char="§"/>
            </a:pPr>
            <a:r>
              <a:rPr sz="2200" spc="-5" dirty="0">
                <a:latin typeface="Arial"/>
                <a:cs typeface="Arial"/>
              </a:rPr>
              <a:t>This assignment forms the base  for all Sales activities in SAP, with  out which no transaction can be  executed</a:t>
            </a:r>
          </a:p>
          <a:p>
            <a:pPr marL="355600" indent="-342900">
              <a:spcBef>
                <a:spcPts val="35"/>
              </a:spcBef>
              <a:buClr>
                <a:srgbClr val="00B0F0"/>
              </a:buClr>
              <a:buFont typeface="Wingdings" panose="05000000000000000000" pitchFamily="2" charset="2"/>
              <a:buChar char="§"/>
            </a:pPr>
            <a:endParaRPr sz="2200" spc="-5" dirty="0">
              <a:latin typeface="Arial"/>
              <a:cs typeface="Arial"/>
            </a:endParaRPr>
          </a:p>
          <a:p>
            <a:pPr marL="355600" indent="-342900">
              <a:buClr>
                <a:srgbClr val="00B0F0"/>
              </a:buClr>
              <a:buFont typeface="Wingdings" panose="05000000000000000000" pitchFamily="2" charset="2"/>
              <a:buChar char="§"/>
            </a:pPr>
            <a:r>
              <a:rPr sz="2200" spc="-5" dirty="0">
                <a:latin typeface="Arial"/>
                <a:cs typeface="Arial"/>
              </a:rPr>
              <a:t>Also, it is generally necessary to interact with other</a:t>
            </a:r>
          </a:p>
          <a:p>
            <a:pPr marL="12700">
              <a:buClr>
                <a:srgbClr val="00B0F0"/>
              </a:buClr>
            </a:pPr>
            <a:r>
              <a:rPr lang="en-US" sz="2200" spc="-5" dirty="0" smtClean="0">
                <a:latin typeface="Arial"/>
                <a:cs typeface="Arial"/>
              </a:rPr>
              <a:t>    </a:t>
            </a:r>
            <a:r>
              <a:rPr sz="2200" spc="-5" dirty="0" smtClean="0">
                <a:latin typeface="Arial"/>
                <a:cs typeface="Arial"/>
              </a:rPr>
              <a:t>organizational </a:t>
            </a:r>
            <a:r>
              <a:rPr sz="2200" spc="-5" dirty="0">
                <a:latin typeface="Arial"/>
                <a:cs typeface="Arial"/>
              </a:rPr>
              <a:t>units such as Plants or Shipping points</a:t>
            </a:r>
          </a:p>
        </p:txBody>
      </p:sp>
      <p:sp>
        <p:nvSpPr>
          <p:cNvPr id="6" name="object 6"/>
          <p:cNvSpPr/>
          <p:nvPr/>
        </p:nvSpPr>
        <p:spPr>
          <a:xfrm>
            <a:off x="5486400" y="2669637"/>
            <a:ext cx="1737531" cy="1959338"/>
          </a:xfrm>
          <a:prstGeom prst="rect">
            <a:avLst/>
          </a:prstGeom>
          <a:blipFill>
            <a:blip r:embed="rId3" cstate="print"/>
            <a:stretch>
              <a:fillRect/>
            </a:stretch>
          </a:blipFill>
        </p:spPr>
        <p:txBody>
          <a:bodyPr wrap="square" lIns="0" tIns="0" rIns="0" bIns="0" rtlCol="0"/>
          <a:lstStyle/>
          <a:p>
            <a:endParaRPr/>
          </a:p>
        </p:txBody>
      </p:sp>
      <p:sp>
        <p:nvSpPr>
          <p:cNvPr id="7" name="object 7"/>
          <p:cNvSpPr/>
          <p:nvPr/>
        </p:nvSpPr>
        <p:spPr>
          <a:xfrm>
            <a:off x="6303561" y="2610981"/>
            <a:ext cx="64769" cy="70485"/>
          </a:xfrm>
          <a:custGeom>
            <a:avLst/>
            <a:gdLst/>
            <a:ahLst/>
            <a:cxnLst/>
            <a:rect l="l" t="t" r="r" b="b"/>
            <a:pathLst>
              <a:path w="64770" h="70485">
                <a:moveTo>
                  <a:pt x="30780" y="0"/>
                </a:moveTo>
                <a:lnTo>
                  <a:pt x="27132" y="912"/>
                </a:lnTo>
                <a:lnTo>
                  <a:pt x="22648" y="912"/>
                </a:lnTo>
                <a:lnTo>
                  <a:pt x="18088" y="2662"/>
                </a:lnTo>
                <a:lnTo>
                  <a:pt x="14516" y="4488"/>
                </a:lnTo>
                <a:lnTo>
                  <a:pt x="11780" y="7227"/>
                </a:lnTo>
                <a:lnTo>
                  <a:pt x="8132" y="9890"/>
                </a:lnTo>
                <a:lnTo>
                  <a:pt x="5472" y="13541"/>
                </a:lnTo>
                <a:lnTo>
                  <a:pt x="3648" y="17117"/>
                </a:lnTo>
                <a:lnTo>
                  <a:pt x="2736" y="22519"/>
                </a:lnTo>
                <a:lnTo>
                  <a:pt x="912" y="27996"/>
                </a:lnTo>
                <a:lnTo>
                  <a:pt x="0" y="33398"/>
                </a:lnTo>
                <a:lnTo>
                  <a:pt x="0" y="38799"/>
                </a:lnTo>
                <a:lnTo>
                  <a:pt x="25384" y="69459"/>
                </a:lnTo>
                <a:lnTo>
                  <a:pt x="29868" y="70372"/>
                </a:lnTo>
                <a:lnTo>
                  <a:pt x="38912" y="70372"/>
                </a:lnTo>
                <a:lnTo>
                  <a:pt x="44384" y="68546"/>
                </a:lnTo>
                <a:lnTo>
                  <a:pt x="50692" y="64970"/>
                </a:lnTo>
                <a:lnTo>
                  <a:pt x="52516" y="63144"/>
                </a:lnTo>
                <a:lnTo>
                  <a:pt x="55252" y="60482"/>
                </a:lnTo>
                <a:lnTo>
                  <a:pt x="57000" y="56830"/>
                </a:lnTo>
                <a:lnTo>
                  <a:pt x="59736" y="54167"/>
                </a:lnTo>
                <a:lnTo>
                  <a:pt x="60648" y="50515"/>
                </a:lnTo>
                <a:lnTo>
                  <a:pt x="62472" y="46027"/>
                </a:lnTo>
                <a:lnTo>
                  <a:pt x="63384" y="41538"/>
                </a:lnTo>
                <a:lnTo>
                  <a:pt x="64296" y="37886"/>
                </a:lnTo>
                <a:lnTo>
                  <a:pt x="62472" y="27083"/>
                </a:lnTo>
                <a:lnTo>
                  <a:pt x="60648" y="21682"/>
                </a:lnTo>
                <a:lnTo>
                  <a:pt x="58824" y="16204"/>
                </a:lnTo>
                <a:lnTo>
                  <a:pt x="56088" y="11716"/>
                </a:lnTo>
                <a:lnTo>
                  <a:pt x="48868" y="4488"/>
                </a:lnTo>
                <a:lnTo>
                  <a:pt x="44384" y="3575"/>
                </a:lnTo>
                <a:lnTo>
                  <a:pt x="39824" y="1825"/>
                </a:lnTo>
                <a:lnTo>
                  <a:pt x="36252" y="912"/>
                </a:lnTo>
                <a:lnTo>
                  <a:pt x="30780" y="0"/>
                </a:lnTo>
                <a:close/>
              </a:path>
            </a:pathLst>
          </a:custGeom>
          <a:solidFill>
            <a:srgbClr val="000000"/>
          </a:solidFill>
        </p:spPr>
        <p:txBody>
          <a:bodyPr wrap="square" lIns="0" tIns="0" rIns="0" bIns="0" rtlCol="0"/>
          <a:lstStyle/>
          <a:p>
            <a:endParaRPr/>
          </a:p>
        </p:txBody>
      </p:sp>
      <p:sp>
        <p:nvSpPr>
          <p:cNvPr id="8" name="object 8"/>
          <p:cNvSpPr/>
          <p:nvPr/>
        </p:nvSpPr>
        <p:spPr>
          <a:xfrm>
            <a:off x="6318989" y="2629011"/>
            <a:ext cx="31115" cy="35560"/>
          </a:xfrm>
          <a:custGeom>
            <a:avLst/>
            <a:gdLst/>
            <a:ahLst/>
            <a:cxnLst/>
            <a:rect l="l" t="t" r="r" b="b"/>
            <a:pathLst>
              <a:path w="31114" h="35560">
                <a:moveTo>
                  <a:pt x="17176" y="0"/>
                </a:moveTo>
                <a:lnTo>
                  <a:pt x="13528" y="912"/>
                </a:lnTo>
                <a:lnTo>
                  <a:pt x="9044" y="1825"/>
                </a:lnTo>
                <a:lnTo>
                  <a:pt x="5396" y="3651"/>
                </a:lnTo>
                <a:lnTo>
                  <a:pt x="1748" y="6314"/>
                </a:lnTo>
                <a:lnTo>
                  <a:pt x="912" y="10803"/>
                </a:lnTo>
                <a:lnTo>
                  <a:pt x="0" y="16280"/>
                </a:lnTo>
                <a:lnTo>
                  <a:pt x="912" y="20769"/>
                </a:lnTo>
                <a:lnTo>
                  <a:pt x="1748" y="26170"/>
                </a:lnTo>
                <a:lnTo>
                  <a:pt x="4484" y="29822"/>
                </a:lnTo>
                <a:lnTo>
                  <a:pt x="8132" y="32485"/>
                </a:lnTo>
                <a:lnTo>
                  <a:pt x="10868" y="34311"/>
                </a:lnTo>
                <a:lnTo>
                  <a:pt x="14440" y="34311"/>
                </a:lnTo>
                <a:lnTo>
                  <a:pt x="19000" y="35224"/>
                </a:lnTo>
                <a:lnTo>
                  <a:pt x="30704" y="22595"/>
                </a:lnTo>
                <a:lnTo>
                  <a:pt x="30704" y="13541"/>
                </a:lnTo>
                <a:lnTo>
                  <a:pt x="28956" y="9053"/>
                </a:lnTo>
                <a:lnTo>
                  <a:pt x="25308" y="4488"/>
                </a:lnTo>
                <a:lnTo>
                  <a:pt x="21660" y="1825"/>
                </a:lnTo>
                <a:lnTo>
                  <a:pt x="17176" y="0"/>
                </a:lnTo>
                <a:close/>
              </a:path>
            </a:pathLst>
          </a:custGeom>
          <a:solidFill>
            <a:srgbClr val="E2200E"/>
          </a:solidFill>
        </p:spPr>
        <p:txBody>
          <a:bodyPr wrap="square" lIns="0" tIns="0" rIns="0" bIns="0" rtlCol="0"/>
          <a:lstStyle/>
          <a:p>
            <a:endParaRPr/>
          </a:p>
        </p:txBody>
      </p:sp>
      <p:sp>
        <p:nvSpPr>
          <p:cNvPr id="10" name="object 10"/>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20</a:t>
            </a:fld>
            <a:endParaRPr sz="1200">
              <a:latin typeface="Symbol"/>
              <a:cs typeface="Symbol"/>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8755380" y="274320"/>
            <a:ext cx="388620" cy="819912"/>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230875" y="191833"/>
            <a:ext cx="8750300" cy="492443"/>
          </a:xfrm>
          <a:prstGeom prst="rect">
            <a:avLst/>
          </a:prstGeom>
        </p:spPr>
        <p:txBody>
          <a:bodyPr vert="horz" wrap="square" lIns="0" tIns="0" rIns="0" bIns="0" rtlCol="0">
            <a:spAutoFit/>
          </a:bodyPr>
          <a:lstStyle/>
          <a:p>
            <a:r>
              <a:rPr dirty="0"/>
              <a:t>Assignment of Organizational units`</a:t>
            </a:r>
          </a:p>
        </p:txBody>
      </p:sp>
      <p:sp>
        <p:nvSpPr>
          <p:cNvPr id="5" name="object 5"/>
          <p:cNvSpPr/>
          <p:nvPr/>
        </p:nvSpPr>
        <p:spPr>
          <a:xfrm>
            <a:off x="457200" y="1524000"/>
            <a:ext cx="3788028" cy="3961700"/>
          </a:xfrm>
          <a:prstGeom prst="rect">
            <a:avLst/>
          </a:prstGeom>
          <a:blipFill>
            <a:blip r:embed="rId3" cstate="print"/>
            <a:stretch>
              <a:fillRect/>
            </a:stretch>
          </a:blipFill>
        </p:spPr>
        <p:txBody>
          <a:bodyPr wrap="square" lIns="0" tIns="0" rIns="0" bIns="0" rtlCol="0"/>
          <a:lstStyle/>
          <a:p>
            <a:endParaRPr/>
          </a:p>
        </p:txBody>
      </p:sp>
      <p:sp>
        <p:nvSpPr>
          <p:cNvPr id="6" name="object 6"/>
          <p:cNvSpPr/>
          <p:nvPr/>
        </p:nvSpPr>
        <p:spPr>
          <a:xfrm>
            <a:off x="442912" y="1524000"/>
            <a:ext cx="3762375" cy="3961700"/>
          </a:xfrm>
          <a:custGeom>
            <a:avLst/>
            <a:gdLst/>
            <a:ahLst/>
            <a:cxnLst/>
            <a:rect l="l" t="t" r="r" b="b"/>
            <a:pathLst>
              <a:path w="3762375" h="2924175">
                <a:moveTo>
                  <a:pt x="0" y="2924175"/>
                </a:moveTo>
                <a:lnTo>
                  <a:pt x="3762375" y="2924175"/>
                </a:lnTo>
                <a:lnTo>
                  <a:pt x="3762375" y="0"/>
                </a:lnTo>
                <a:lnTo>
                  <a:pt x="0" y="0"/>
                </a:lnTo>
                <a:lnTo>
                  <a:pt x="0" y="2924175"/>
                </a:lnTo>
                <a:close/>
              </a:path>
            </a:pathLst>
          </a:custGeom>
          <a:ln w="28575">
            <a:solidFill>
              <a:srgbClr val="000000"/>
            </a:solidFill>
          </a:ln>
        </p:spPr>
        <p:txBody>
          <a:bodyPr wrap="square" lIns="0" tIns="0" rIns="0" bIns="0" rtlCol="0"/>
          <a:lstStyle/>
          <a:p>
            <a:endParaRPr/>
          </a:p>
        </p:txBody>
      </p:sp>
      <p:sp>
        <p:nvSpPr>
          <p:cNvPr id="7" name="object 7"/>
          <p:cNvSpPr/>
          <p:nvPr/>
        </p:nvSpPr>
        <p:spPr>
          <a:xfrm>
            <a:off x="4495800" y="1447800"/>
            <a:ext cx="4343400" cy="4038600"/>
          </a:xfrm>
          <a:prstGeom prst="rect">
            <a:avLst/>
          </a:prstGeom>
          <a:blipFill>
            <a:blip r:embed="rId4" cstate="print"/>
            <a:stretch>
              <a:fillRect/>
            </a:stretch>
          </a:blipFill>
        </p:spPr>
        <p:txBody>
          <a:bodyPr wrap="square" lIns="0" tIns="0" rIns="0" bIns="0" rtlCol="0"/>
          <a:lstStyle/>
          <a:p>
            <a:endParaRPr/>
          </a:p>
        </p:txBody>
      </p:sp>
      <p:sp>
        <p:nvSpPr>
          <p:cNvPr id="8" name="object 8"/>
          <p:cNvSpPr/>
          <p:nvPr/>
        </p:nvSpPr>
        <p:spPr>
          <a:xfrm>
            <a:off x="4495800" y="1524000"/>
            <a:ext cx="4259580" cy="3962400"/>
          </a:xfrm>
          <a:custGeom>
            <a:avLst/>
            <a:gdLst/>
            <a:ahLst/>
            <a:cxnLst/>
            <a:rect l="l" t="t" r="r" b="b"/>
            <a:pathLst>
              <a:path w="4143375" h="2924175">
                <a:moveTo>
                  <a:pt x="0" y="2924175"/>
                </a:moveTo>
                <a:lnTo>
                  <a:pt x="4143375" y="2924175"/>
                </a:lnTo>
                <a:lnTo>
                  <a:pt x="4143375" y="0"/>
                </a:lnTo>
                <a:lnTo>
                  <a:pt x="0" y="0"/>
                </a:lnTo>
                <a:lnTo>
                  <a:pt x="0" y="2924175"/>
                </a:lnTo>
                <a:close/>
              </a:path>
            </a:pathLst>
          </a:custGeom>
          <a:ln w="28575">
            <a:solidFill>
              <a:srgbClr val="000000"/>
            </a:solidFill>
          </a:ln>
        </p:spPr>
        <p:txBody>
          <a:bodyPr wrap="square" lIns="0" tIns="0" rIns="0" bIns="0" rtlCol="0"/>
          <a:lstStyle/>
          <a:p>
            <a:endParaRPr/>
          </a:p>
        </p:txBody>
      </p:sp>
      <p:sp>
        <p:nvSpPr>
          <p:cNvPr id="9" name="object 9"/>
          <p:cNvSpPr/>
          <p:nvPr/>
        </p:nvSpPr>
        <p:spPr>
          <a:xfrm>
            <a:off x="228600" y="5791200"/>
            <a:ext cx="8610600" cy="381000"/>
          </a:xfrm>
          <a:prstGeom prst="rect">
            <a:avLst/>
          </a:prstGeom>
          <a:blipFill>
            <a:blip r:embed="rId5" cstate="print"/>
            <a:stretch>
              <a:fillRect/>
            </a:stretch>
          </a:blipFill>
        </p:spPr>
        <p:txBody>
          <a:bodyPr wrap="square" lIns="0" tIns="0" rIns="0" bIns="0" rtlCol="0"/>
          <a:lstStyle/>
          <a:p>
            <a:endParaRPr/>
          </a:p>
        </p:txBody>
      </p:sp>
      <p:sp>
        <p:nvSpPr>
          <p:cNvPr id="10" name="object 10"/>
          <p:cNvSpPr txBox="1"/>
          <p:nvPr/>
        </p:nvSpPr>
        <p:spPr>
          <a:xfrm>
            <a:off x="228600" y="5791200"/>
            <a:ext cx="8610600" cy="381000"/>
          </a:xfrm>
          <a:prstGeom prst="rect">
            <a:avLst/>
          </a:prstGeom>
          <a:ln w="12700">
            <a:solidFill>
              <a:srgbClr val="000000"/>
            </a:solidFill>
          </a:ln>
        </p:spPr>
        <p:txBody>
          <a:bodyPr vert="horz" wrap="square" lIns="0" tIns="41910" rIns="0" bIns="0" rtlCol="0">
            <a:spAutoFit/>
          </a:bodyPr>
          <a:lstStyle/>
          <a:p>
            <a:pPr marL="166370">
              <a:lnSpc>
                <a:spcPct val="100000"/>
              </a:lnSpc>
              <a:spcBef>
                <a:spcPts val="330"/>
              </a:spcBef>
            </a:pPr>
            <a:r>
              <a:rPr sz="1800" b="1" dirty="0">
                <a:latin typeface="Arial"/>
                <a:cs typeface="Arial"/>
              </a:rPr>
              <a:t>Organizational Units </a:t>
            </a:r>
            <a:r>
              <a:rPr sz="1800" b="1" spc="-5" dirty="0">
                <a:latin typeface="Arial"/>
                <a:cs typeface="Arial"/>
              </a:rPr>
              <a:t>are </a:t>
            </a:r>
            <a:r>
              <a:rPr sz="1800" b="1" dirty="0">
                <a:latin typeface="Arial"/>
                <a:cs typeface="Arial"/>
              </a:rPr>
              <a:t>logically </a:t>
            </a:r>
            <a:r>
              <a:rPr sz="1800" b="1" spc="-5" dirty="0">
                <a:latin typeface="Arial"/>
                <a:cs typeface="Arial"/>
              </a:rPr>
              <a:t>assigned </a:t>
            </a:r>
            <a:r>
              <a:rPr sz="1800" b="1" dirty="0">
                <a:latin typeface="Arial"/>
                <a:cs typeface="Arial"/>
              </a:rPr>
              <a:t>to </a:t>
            </a:r>
            <a:r>
              <a:rPr sz="1800" b="1" spc="-5" dirty="0">
                <a:latin typeface="Arial"/>
                <a:cs typeface="Arial"/>
              </a:rPr>
              <a:t>create a hierarchical</a:t>
            </a:r>
            <a:r>
              <a:rPr sz="1800" b="1" spc="15" dirty="0">
                <a:latin typeface="Arial"/>
                <a:cs typeface="Arial"/>
              </a:rPr>
              <a:t> </a:t>
            </a:r>
            <a:r>
              <a:rPr sz="1800" b="1" spc="-5" dirty="0">
                <a:latin typeface="Arial"/>
                <a:cs typeface="Arial"/>
              </a:rPr>
              <a:t>structure</a:t>
            </a:r>
            <a:endParaRPr sz="1800">
              <a:latin typeface="Arial"/>
              <a:cs typeface="Arial"/>
            </a:endParaRPr>
          </a:p>
        </p:txBody>
      </p:sp>
      <p:sp>
        <p:nvSpPr>
          <p:cNvPr id="12" name="object 12"/>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21</a:t>
            </a:fld>
            <a:endParaRPr sz="1200">
              <a:latin typeface="Symbol"/>
              <a:cs typeface="Symbol"/>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3424428" y="260604"/>
            <a:ext cx="886968"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prstGeom prst="rect">
            <a:avLst/>
          </a:prstGeom>
        </p:spPr>
        <p:txBody>
          <a:bodyPr vert="horz" wrap="square" lIns="0" tIns="0" rIns="0" bIns="0" rtlCol="0">
            <a:spAutoFit/>
          </a:bodyPr>
          <a:lstStyle/>
          <a:p>
            <a:r>
              <a:rPr dirty="0"/>
              <a:t>Environment</a:t>
            </a:r>
          </a:p>
        </p:txBody>
      </p:sp>
      <p:sp>
        <p:nvSpPr>
          <p:cNvPr id="5" name="object 5"/>
          <p:cNvSpPr txBox="1"/>
          <p:nvPr/>
        </p:nvSpPr>
        <p:spPr>
          <a:xfrm>
            <a:off x="381000" y="4310252"/>
            <a:ext cx="8289290" cy="1816588"/>
          </a:xfrm>
          <a:prstGeom prst="rect">
            <a:avLst/>
          </a:prstGeom>
        </p:spPr>
        <p:txBody>
          <a:bodyPr vert="horz" wrap="square" lIns="0" tIns="0" rIns="0" bIns="0" rtlCol="0">
            <a:spAutoFit/>
          </a:bodyPr>
          <a:lstStyle/>
          <a:p>
            <a:pPr marL="355600" marR="5080" indent="-342900">
              <a:lnSpc>
                <a:spcPts val="1939"/>
              </a:lnSpc>
              <a:buClr>
                <a:srgbClr val="00B0F0"/>
              </a:buClr>
              <a:buFont typeface="Wingdings" panose="05000000000000000000" pitchFamily="2" charset="2"/>
              <a:buChar char="§"/>
              <a:tabLst>
                <a:tab pos="154940" algn="l"/>
              </a:tabLst>
            </a:pPr>
            <a:r>
              <a:rPr sz="2200" spc="-5" dirty="0">
                <a:latin typeface="Arial"/>
                <a:cs typeface="Arial"/>
              </a:rPr>
              <a:t>The current scenario explains about organizational structure in R/3 system  version ECC 5.0</a:t>
            </a:r>
          </a:p>
          <a:p>
            <a:pPr marL="355600" marR="5080" indent="-342900">
              <a:lnSpc>
                <a:spcPct val="100000"/>
              </a:lnSpc>
              <a:spcBef>
                <a:spcPts val="50"/>
              </a:spcBef>
              <a:buClr>
                <a:srgbClr val="00B0F0"/>
              </a:buClr>
              <a:buFont typeface="Wingdings" panose="05000000000000000000" pitchFamily="2" charset="2"/>
              <a:buChar char="§"/>
            </a:pPr>
            <a:endParaRPr sz="2200" spc="-5" dirty="0">
              <a:latin typeface="Arial"/>
              <a:cs typeface="Arial"/>
            </a:endParaRPr>
          </a:p>
          <a:p>
            <a:pPr marL="355600" marR="53340" indent="-342900">
              <a:lnSpc>
                <a:spcPts val="1939"/>
              </a:lnSpc>
              <a:buClr>
                <a:srgbClr val="00B0F0"/>
              </a:buClr>
              <a:buFont typeface="Wingdings" panose="05000000000000000000" pitchFamily="2" charset="2"/>
              <a:buChar char="§"/>
              <a:tabLst>
                <a:tab pos="154940" algn="l"/>
              </a:tabLst>
            </a:pPr>
            <a:r>
              <a:rPr sz="2200" spc="-5" dirty="0">
                <a:latin typeface="Arial"/>
                <a:cs typeface="Arial"/>
              </a:rPr>
              <a:t>Some of the functionalities explained are version dependent. For example,  upto version 4.x it was possible to derive Credit Control Area from the  company code only, which is now possible from Sales Area</a:t>
            </a:r>
          </a:p>
        </p:txBody>
      </p:sp>
      <p:sp>
        <p:nvSpPr>
          <p:cNvPr id="6" name="object 6"/>
          <p:cNvSpPr/>
          <p:nvPr/>
        </p:nvSpPr>
        <p:spPr>
          <a:xfrm>
            <a:off x="838200" y="1270858"/>
            <a:ext cx="6629400" cy="2438400"/>
          </a:xfrm>
          <a:prstGeom prst="rect">
            <a:avLst/>
          </a:prstGeom>
          <a:blipFill>
            <a:blip r:embed="rId3" cstate="print"/>
            <a:stretch>
              <a:fillRect/>
            </a:stretch>
          </a:blipFill>
        </p:spPr>
        <p:txBody>
          <a:bodyPr wrap="square" lIns="0" tIns="0" rIns="0" bIns="0" rtlCol="0"/>
          <a:lstStyle/>
          <a:p>
            <a:endParaRPr/>
          </a:p>
        </p:txBody>
      </p:sp>
      <p:sp>
        <p:nvSpPr>
          <p:cNvPr id="9" name="object 9"/>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22</a:t>
            </a:fld>
            <a:endParaRPr sz="1200">
              <a:latin typeface="Symbol"/>
              <a:cs typeface="Symbol"/>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3671315" y="260604"/>
            <a:ext cx="886967"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prstGeom prst="rect">
            <a:avLst/>
          </a:prstGeom>
        </p:spPr>
        <p:txBody>
          <a:bodyPr vert="horz" wrap="square" lIns="0" tIns="0" rIns="0" bIns="0" rtlCol="0">
            <a:spAutoFit/>
          </a:bodyPr>
          <a:lstStyle/>
          <a:p>
            <a:pPr>
              <a:lnSpc>
                <a:spcPct val="100000"/>
              </a:lnSpc>
            </a:pPr>
            <a:r>
              <a:rPr dirty="0"/>
              <a:t>Configuration</a:t>
            </a:r>
          </a:p>
        </p:txBody>
      </p:sp>
      <p:sp>
        <p:nvSpPr>
          <p:cNvPr id="5" name="object 5"/>
          <p:cNvSpPr txBox="1"/>
          <p:nvPr/>
        </p:nvSpPr>
        <p:spPr>
          <a:xfrm>
            <a:off x="444500" y="4948808"/>
            <a:ext cx="4822825" cy="840105"/>
          </a:xfrm>
          <a:prstGeom prst="rect">
            <a:avLst/>
          </a:prstGeom>
        </p:spPr>
        <p:txBody>
          <a:bodyPr vert="horz" wrap="square" lIns="0" tIns="0" rIns="0" bIns="0" rtlCol="0">
            <a:spAutoFit/>
          </a:bodyPr>
          <a:lstStyle/>
          <a:p>
            <a:pPr marL="12700">
              <a:lnSpc>
                <a:spcPct val="100000"/>
              </a:lnSpc>
            </a:pPr>
            <a:r>
              <a:rPr sz="1600" b="1" spc="-5" dirty="0">
                <a:latin typeface="Arial"/>
                <a:cs typeface="Arial"/>
              </a:rPr>
              <a:t>Menu Path </a:t>
            </a:r>
            <a:r>
              <a:rPr sz="1600" b="1" spc="-10" dirty="0">
                <a:latin typeface="Arial"/>
                <a:cs typeface="Arial"/>
              </a:rPr>
              <a:t>for</a:t>
            </a:r>
            <a:r>
              <a:rPr sz="1600" b="1" spc="-20" dirty="0">
                <a:latin typeface="Arial"/>
                <a:cs typeface="Arial"/>
              </a:rPr>
              <a:t> </a:t>
            </a:r>
            <a:r>
              <a:rPr sz="1600" b="1" spc="-5" dirty="0">
                <a:latin typeface="Arial"/>
                <a:cs typeface="Arial"/>
              </a:rPr>
              <a:t>Configuration:</a:t>
            </a:r>
            <a:endParaRPr sz="1600" dirty="0">
              <a:latin typeface="Arial"/>
              <a:cs typeface="Arial"/>
            </a:endParaRPr>
          </a:p>
          <a:p>
            <a:pPr marL="12700" marR="5080">
              <a:lnSpc>
                <a:spcPts val="2310"/>
              </a:lnSpc>
              <a:spcBef>
                <a:spcPts val="135"/>
              </a:spcBef>
            </a:pPr>
            <a:r>
              <a:rPr sz="1600" b="1" spc="-5" dirty="0">
                <a:latin typeface="Arial"/>
                <a:cs typeface="Arial"/>
              </a:rPr>
              <a:t>Display IMG</a:t>
            </a:r>
            <a:r>
              <a:rPr sz="1600" b="1" spc="-5" dirty="0">
                <a:latin typeface="Wingdings"/>
                <a:cs typeface="Wingdings"/>
              </a:rPr>
              <a:t></a:t>
            </a:r>
            <a:r>
              <a:rPr sz="1600" b="1" spc="-5" dirty="0">
                <a:latin typeface="Times New Roman"/>
                <a:cs typeface="Times New Roman"/>
              </a:rPr>
              <a:t> </a:t>
            </a:r>
            <a:r>
              <a:rPr sz="1600" b="1" spc="-5" dirty="0">
                <a:latin typeface="Arial"/>
                <a:cs typeface="Arial"/>
              </a:rPr>
              <a:t>Enterprise Structure</a:t>
            </a:r>
            <a:r>
              <a:rPr sz="1600" b="1" spc="-5" dirty="0">
                <a:latin typeface="Wingdings"/>
                <a:cs typeface="Wingdings"/>
              </a:rPr>
              <a:t></a:t>
            </a:r>
            <a:r>
              <a:rPr sz="1600" b="1" spc="-5" dirty="0">
                <a:latin typeface="Times New Roman"/>
                <a:cs typeface="Times New Roman"/>
              </a:rPr>
              <a:t> </a:t>
            </a:r>
            <a:r>
              <a:rPr sz="1600" b="1" spc="-5" dirty="0">
                <a:latin typeface="Arial"/>
                <a:cs typeface="Arial"/>
              </a:rPr>
              <a:t>Definition  Display IMG</a:t>
            </a:r>
            <a:r>
              <a:rPr sz="1600" b="1" spc="-5" dirty="0">
                <a:latin typeface="Wingdings"/>
                <a:cs typeface="Wingdings"/>
              </a:rPr>
              <a:t></a:t>
            </a:r>
            <a:r>
              <a:rPr sz="1600" b="1" spc="-5" dirty="0">
                <a:latin typeface="Times New Roman"/>
                <a:cs typeface="Times New Roman"/>
              </a:rPr>
              <a:t> </a:t>
            </a:r>
            <a:r>
              <a:rPr sz="1600" b="1" spc="-5" dirty="0">
                <a:latin typeface="Arial"/>
                <a:cs typeface="Arial"/>
              </a:rPr>
              <a:t>Enterprise Structure</a:t>
            </a:r>
            <a:r>
              <a:rPr sz="1600" b="1" spc="-5" dirty="0">
                <a:latin typeface="Wingdings"/>
                <a:cs typeface="Wingdings"/>
              </a:rPr>
              <a:t></a:t>
            </a:r>
            <a:r>
              <a:rPr sz="1600" b="1" spc="195" dirty="0">
                <a:latin typeface="Times New Roman"/>
                <a:cs typeface="Times New Roman"/>
              </a:rPr>
              <a:t> </a:t>
            </a:r>
            <a:r>
              <a:rPr sz="1600" b="1" spc="-10" dirty="0">
                <a:latin typeface="Arial"/>
                <a:cs typeface="Arial"/>
              </a:rPr>
              <a:t>Assignment</a:t>
            </a:r>
            <a:endParaRPr sz="1600" dirty="0">
              <a:latin typeface="Arial"/>
              <a:cs typeface="Arial"/>
            </a:endParaRPr>
          </a:p>
        </p:txBody>
      </p:sp>
      <p:sp>
        <p:nvSpPr>
          <p:cNvPr id="6" name="object 6"/>
          <p:cNvSpPr txBox="1"/>
          <p:nvPr/>
        </p:nvSpPr>
        <p:spPr>
          <a:xfrm>
            <a:off x="612140" y="1257553"/>
            <a:ext cx="1244600" cy="338554"/>
          </a:xfrm>
          <a:prstGeom prst="rect">
            <a:avLst/>
          </a:prstGeom>
        </p:spPr>
        <p:txBody>
          <a:bodyPr vert="horz" wrap="square" lIns="0" tIns="0" rIns="0" bIns="0" rtlCol="0">
            <a:spAutoFit/>
          </a:bodyPr>
          <a:lstStyle/>
          <a:p>
            <a:pPr marL="12700">
              <a:lnSpc>
                <a:spcPct val="100000"/>
              </a:lnSpc>
            </a:pPr>
            <a:r>
              <a:rPr sz="2200" b="1" spc="-5" dirty="0">
                <a:solidFill>
                  <a:srgbClr val="003399"/>
                </a:solidFill>
                <a:latin typeface="Arial"/>
                <a:cs typeface="Arial"/>
              </a:rPr>
              <a:t>Defining</a:t>
            </a:r>
            <a:endParaRPr sz="2200" dirty="0">
              <a:latin typeface="Arial"/>
              <a:cs typeface="Arial"/>
            </a:endParaRPr>
          </a:p>
        </p:txBody>
      </p:sp>
      <p:sp>
        <p:nvSpPr>
          <p:cNvPr id="7" name="object 7"/>
          <p:cNvSpPr txBox="1"/>
          <p:nvPr/>
        </p:nvSpPr>
        <p:spPr>
          <a:xfrm>
            <a:off x="4748276" y="1257553"/>
            <a:ext cx="1497965" cy="338554"/>
          </a:xfrm>
          <a:prstGeom prst="rect">
            <a:avLst/>
          </a:prstGeom>
        </p:spPr>
        <p:txBody>
          <a:bodyPr vert="horz" wrap="square" lIns="0" tIns="0" rIns="0" bIns="0" rtlCol="0">
            <a:spAutoFit/>
          </a:bodyPr>
          <a:lstStyle/>
          <a:p>
            <a:pPr marL="12700">
              <a:lnSpc>
                <a:spcPct val="100000"/>
              </a:lnSpc>
            </a:pPr>
            <a:r>
              <a:rPr sz="2200" b="1" spc="-5" dirty="0">
                <a:solidFill>
                  <a:srgbClr val="003399"/>
                </a:solidFill>
                <a:latin typeface="Arial"/>
                <a:cs typeface="Arial"/>
              </a:rPr>
              <a:t>Assigning</a:t>
            </a:r>
            <a:endParaRPr sz="2200" dirty="0">
              <a:latin typeface="Arial"/>
              <a:cs typeface="Arial"/>
            </a:endParaRPr>
          </a:p>
        </p:txBody>
      </p:sp>
      <p:sp>
        <p:nvSpPr>
          <p:cNvPr id="8" name="object 8"/>
          <p:cNvSpPr/>
          <p:nvPr/>
        </p:nvSpPr>
        <p:spPr>
          <a:xfrm>
            <a:off x="4648200" y="1676400"/>
            <a:ext cx="3962400" cy="2743200"/>
          </a:xfrm>
          <a:prstGeom prst="rect">
            <a:avLst/>
          </a:prstGeom>
          <a:blipFill>
            <a:blip r:embed="rId3" cstate="print"/>
            <a:stretch>
              <a:fillRect/>
            </a:stretch>
          </a:blipFill>
        </p:spPr>
        <p:txBody>
          <a:bodyPr wrap="square" lIns="0" tIns="0" rIns="0" bIns="0" rtlCol="0"/>
          <a:lstStyle/>
          <a:p>
            <a:endParaRPr/>
          </a:p>
        </p:txBody>
      </p:sp>
      <p:sp>
        <p:nvSpPr>
          <p:cNvPr id="9" name="object 9"/>
          <p:cNvSpPr/>
          <p:nvPr/>
        </p:nvSpPr>
        <p:spPr>
          <a:xfrm>
            <a:off x="4633848" y="1662048"/>
            <a:ext cx="3990975" cy="2771775"/>
          </a:xfrm>
          <a:custGeom>
            <a:avLst/>
            <a:gdLst/>
            <a:ahLst/>
            <a:cxnLst/>
            <a:rect l="l" t="t" r="r" b="b"/>
            <a:pathLst>
              <a:path w="3990975" h="2771775">
                <a:moveTo>
                  <a:pt x="0" y="2771775"/>
                </a:moveTo>
                <a:lnTo>
                  <a:pt x="3990975" y="2771775"/>
                </a:lnTo>
                <a:lnTo>
                  <a:pt x="3990975" y="0"/>
                </a:lnTo>
                <a:lnTo>
                  <a:pt x="0" y="0"/>
                </a:lnTo>
                <a:lnTo>
                  <a:pt x="0" y="2771775"/>
                </a:lnTo>
                <a:close/>
              </a:path>
            </a:pathLst>
          </a:custGeom>
          <a:ln w="28575">
            <a:solidFill>
              <a:srgbClr val="000000"/>
            </a:solidFill>
          </a:ln>
        </p:spPr>
        <p:txBody>
          <a:bodyPr wrap="square" lIns="0" tIns="0" rIns="0" bIns="0" rtlCol="0"/>
          <a:lstStyle/>
          <a:p>
            <a:endParaRPr/>
          </a:p>
        </p:txBody>
      </p:sp>
      <p:sp>
        <p:nvSpPr>
          <p:cNvPr id="10" name="object 10"/>
          <p:cNvSpPr/>
          <p:nvPr/>
        </p:nvSpPr>
        <p:spPr>
          <a:xfrm>
            <a:off x="457200" y="1676273"/>
            <a:ext cx="3810000" cy="2703576"/>
          </a:xfrm>
          <a:prstGeom prst="rect">
            <a:avLst/>
          </a:prstGeom>
          <a:blipFill>
            <a:blip r:embed="rId4" cstate="print"/>
            <a:stretch>
              <a:fillRect/>
            </a:stretch>
          </a:blipFill>
        </p:spPr>
        <p:txBody>
          <a:bodyPr wrap="square" lIns="0" tIns="0" rIns="0" bIns="0" rtlCol="0"/>
          <a:lstStyle/>
          <a:p>
            <a:endParaRPr/>
          </a:p>
        </p:txBody>
      </p:sp>
      <p:sp>
        <p:nvSpPr>
          <p:cNvPr id="11" name="object 11"/>
          <p:cNvSpPr/>
          <p:nvPr/>
        </p:nvSpPr>
        <p:spPr>
          <a:xfrm>
            <a:off x="442912" y="1662176"/>
            <a:ext cx="3838575" cy="2732405"/>
          </a:xfrm>
          <a:custGeom>
            <a:avLst/>
            <a:gdLst/>
            <a:ahLst/>
            <a:cxnLst/>
            <a:rect l="l" t="t" r="r" b="b"/>
            <a:pathLst>
              <a:path w="3838575" h="2732404">
                <a:moveTo>
                  <a:pt x="0" y="2732024"/>
                </a:moveTo>
                <a:lnTo>
                  <a:pt x="3838575" y="2732024"/>
                </a:lnTo>
                <a:lnTo>
                  <a:pt x="3838575" y="0"/>
                </a:lnTo>
                <a:lnTo>
                  <a:pt x="0" y="0"/>
                </a:lnTo>
                <a:lnTo>
                  <a:pt x="0" y="2732024"/>
                </a:lnTo>
                <a:close/>
              </a:path>
            </a:pathLst>
          </a:custGeom>
          <a:ln w="28575">
            <a:solidFill>
              <a:srgbClr val="000000"/>
            </a:solidFill>
          </a:ln>
        </p:spPr>
        <p:txBody>
          <a:bodyPr wrap="square" lIns="0" tIns="0" rIns="0" bIns="0" rtlCol="0"/>
          <a:lstStyle/>
          <a:p>
            <a:endParaRPr/>
          </a:p>
        </p:txBody>
      </p:sp>
      <p:sp>
        <p:nvSpPr>
          <p:cNvPr id="13" name="object 13"/>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23</a:t>
            </a:fld>
            <a:endParaRPr sz="1200">
              <a:latin typeface="Symbol"/>
              <a:cs typeface="Symbol"/>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6903719" y="260604"/>
            <a:ext cx="886968"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prstGeom prst="rect">
            <a:avLst/>
          </a:prstGeom>
        </p:spPr>
        <p:txBody>
          <a:bodyPr vert="horz" wrap="square" lIns="0" tIns="0" rIns="0" bIns="0" rtlCol="0">
            <a:spAutoFit/>
          </a:bodyPr>
          <a:lstStyle/>
          <a:p>
            <a:pPr marL="12700">
              <a:lnSpc>
                <a:spcPct val="100000"/>
              </a:lnSpc>
            </a:pPr>
            <a:r>
              <a:rPr dirty="0"/>
              <a:t>Define Sales</a:t>
            </a:r>
            <a:r>
              <a:rPr spc="-50" dirty="0"/>
              <a:t> </a:t>
            </a:r>
            <a:r>
              <a:rPr dirty="0"/>
              <a:t>Organization</a:t>
            </a:r>
          </a:p>
        </p:txBody>
      </p:sp>
      <p:sp>
        <p:nvSpPr>
          <p:cNvPr id="5" name="object 5"/>
          <p:cNvSpPr/>
          <p:nvPr/>
        </p:nvSpPr>
        <p:spPr>
          <a:xfrm>
            <a:off x="457200" y="1219200"/>
            <a:ext cx="5829300" cy="4197350"/>
          </a:xfrm>
          <a:prstGeom prst="rect">
            <a:avLst/>
          </a:prstGeom>
          <a:blipFill>
            <a:blip r:embed="rId3" cstate="print"/>
            <a:stretch>
              <a:fillRect/>
            </a:stretch>
          </a:blipFill>
        </p:spPr>
        <p:txBody>
          <a:bodyPr wrap="square" lIns="0" tIns="0" rIns="0" bIns="0" rtlCol="0"/>
          <a:lstStyle/>
          <a:p>
            <a:endParaRPr/>
          </a:p>
        </p:txBody>
      </p:sp>
      <p:sp>
        <p:nvSpPr>
          <p:cNvPr id="6" name="object 6"/>
          <p:cNvSpPr/>
          <p:nvPr/>
        </p:nvSpPr>
        <p:spPr>
          <a:xfrm>
            <a:off x="442912" y="1204849"/>
            <a:ext cx="5857875" cy="4225925"/>
          </a:xfrm>
          <a:custGeom>
            <a:avLst/>
            <a:gdLst/>
            <a:ahLst/>
            <a:cxnLst/>
            <a:rect l="l" t="t" r="r" b="b"/>
            <a:pathLst>
              <a:path w="5857875" h="4225925">
                <a:moveTo>
                  <a:pt x="0" y="4225925"/>
                </a:moveTo>
                <a:lnTo>
                  <a:pt x="5857875" y="4225925"/>
                </a:lnTo>
                <a:lnTo>
                  <a:pt x="5857875" y="0"/>
                </a:lnTo>
                <a:lnTo>
                  <a:pt x="0" y="0"/>
                </a:lnTo>
                <a:lnTo>
                  <a:pt x="0" y="4225925"/>
                </a:lnTo>
                <a:close/>
              </a:path>
            </a:pathLst>
          </a:custGeom>
          <a:ln w="28575">
            <a:solidFill>
              <a:srgbClr val="000000"/>
            </a:solidFill>
          </a:ln>
        </p:spPr>
        <p:txBody>
          <a:bodyPr wrap="square" lIns="0" tIns="0" rIns="0" bIns="0" rtlCol="0"/>
          <a:lstStyle/>
          <a:p>
            <a:endParaRPr/>
          </a:p>
        </p:txBody>
      </p:sp>
      <p:sp>
        <p:nvSpPr>
          <p:cNvPr id="7" name="object 7"/>
          <p:cNvSpPr/>
          <p:nvPr/>
        </p:nvSpPr>
        <p:spPr>
          <a:xfrm>
            <a:off x="2366898" y="1143000"/>
            <a:ext cx="5634355" cy="1646555"/>
          </a:xfrm>
          <a:custGeom>
            <a:avLst/>
            <a:gdLst/>
            <a:ahLst/>
            <a:cxnLst/>
            <a:rect l="l" t="t" r="r" b="b"/>
            <a:pathLst>
              <a:path w="5634355" h="1646555">
                <a:moveTo>
                  <a:pt x="5456301" y="0"/>
                </a:moveTo>
                <a:lnTo>
                  <a:pt x="4287901" y="0"/>
                </a:lnTo>
                <a:lnTo>
                  <a:pt x="4240643" y="6352"/>
                </a:lnTo>
                <a:lnTo>
                  <a:pt x="4198173" y="24280"/>
                </a:lnTo>
                <a:lnTo>
                  <a:pt x="4162186" y="52085"/>
                </a:lnTo>
                <a:lnTo>
                  <a:pt x="4134381" y="88072"/>
                </a:lnTo>
                <a:lnTo>
                  <a:pt x="4116453" y="130542"/>
                </a:lnTo>
                <a:lnTo>
                  <a:pt x="4110101" y="177800"/>
                </a:lnTo>
                <a:lnTo>
                  <a:pt x="4110101" y="622300"/>
                </a:lnTo>
                <a:lnTo>
                  <a:pt x="0" y="1646174"/>
                </a:lnTo>
                <a:lnTo>
                  <a:pt x="4110101" y="889000"/>
                </a:lnTo>
                <a:lnTo>
                  <a:pt x="5634101" y="889000"/>
                </a:lnTo>
                <a:lnTo>
                  <a:pt x="5634101" y="177800"/>
                </a:lnTo>
                <a:lnTo>
                  <a:pt x="5627748" y="130542"/>
                </a:lnTo>
                <a:lnTo>
                  <a:pt x="5609820" y="88072"/>
                </a:lnTo>
                <a:lnTo>
                  <a:pt x="5582015" y="52085"/>
                </a:lnTo>
                <a:lnTo>
                  <a:pt x="5546028" y="24280"/>
                </a:lnTo>
                <a:lnTo>
                  <a:pt x="5503558" y="6352"/>
                </a:lnTo>
                <a:lnTo>
                  <a:pt x="5456301" y="0"/>
                </a:lnTo>
                <a:close/>
              </a:path>
              <a:path w="5634355" h="1646555">
                <a:moveTo>
                  <a:pt x="5634101" y="889000"/>
                </a:moveTo>
                <a:lnTo>
                  <a:pt x="4110101" y="889000"/>
                </a:lnTo>
                <a:lnTo>
                  <a:pt x="4116453" y="936257"/>
                </a:lnTo>
                <a:lnTo>
                  <a:pt x="4134381" y="978727"/>
                </a:lnTo>
                <a:lnTo>
                  <a:pt x="4162186" y="1014714"/>
                </a:lnTo>
                <a:lnTo>
                  <a:pt x="4198173" y="1042519"/>
                </a:lnTo>
                <a:lnTo>
                  <a:pt x="4240643" y="1060447"/>
                </a:lnTo>
                <a:lnTo>
                  <a:pt x="4287901" y="1066800"/>
                </a:lnTo>
                <a:lnTo>
                  <a:pt x="5456301" y="1066800"/>
                </a:lnTo>
                <a:lnTo>
                  <a:pt x="5503558" y="1060447"/>
                </a:lnTo>
                <a:lnTo>
                  <a:pt x="5546028" y="1042519"/>
                </a:lnTo>
                <a:lnTo>
                  <a:pt x="5582015" y="1014714"/>
                </a:lnTo>
                <a:lnTo>
                  <a:pt x="5609820" y="978727"/>
                </a:lnTo>
                <a:lnTo>
                  <a:pt x="5627748" y="936257"/>
                </a:lnTo>
                <a:lnTo>
                  <a:pt x="5634101" y="889000"/>
                </a:lnTo>
                <a:close/>
              </a:path>
            </a:pathLst>
          </a:custGeom>
          <a:solidFill>
            <a:srgbClr val="FFFFB7"/>
          </a:solidFill>
        </p:spPr>
        <p:txBody>
          <a:bodyPr wrap="square" lIns="0" tIns="0" rIns="0" bIns="0" rtlCol="0"/>
          <a:lstStyle/>
          <a:p>
            <a:endParaRPr/>
          </a:p>
        </p:txBody>
      </p:sp>
      <p:sp>
        <p:nvSpPr>
          <p:cNvPr id="8" name="object 8"/>
          <p:cNvSpPr/>
          <p:nvPr/>
        </p:nvSpPr>
        <p:spPr>
          <a:xfrm>
            <a:off x="5313426" y="2362200"/>
            <a:ext cx="2840355" cy="909955"/>
          </a:xfrm>
          <a:custGeom>
            <a:avLst/>
            <a:gdLst/>
            <a:ahLst/>
            <a:cxnLst/>
            <a:rect l="l" t="t" r="r" b="b"/>
            <a:pathLst>
              <a:path w="2840354" h="909954">
                <a:moveTo>
                  <a:pt x="2700274" y="0"/>
                </a:moveTo>
                <a:lnTo>
                  <a:pt x="1303274" y="0"/>
                </a:lnTo>
                <a:lnTo>
                  <a:pt x="1259094" y="7116"/>
                </a:lnTo>
                <a:lnTo>
                  <a:pt x="1220742" y="26936"/>
                </a:lnTo>
                <a:lnTo>
                  <a:pt x="1190510" y="57168"/>
                </a:lnTo>
                <a:lnTo>
                  <a:pt x="1170690" y="95520"/>
                </a:lnTo>
                <a:lnTo>
                  <a:pt x="1163574" y="139700"/>
                </a:lnTo>
                <a:lnTo>
                  <a:pt x="1163574" y="488950"/>
                </a:lnTo>
                <a:lnTo>
                  <a:pt x="0" y="909701"/>
                </a:lnTo>
                <a:lnTo>
                  <a:pt x="1163574" y="698500"/>
                </a:lnTo>
                <a:lnTo>
                  <a:pt x="2839974" y="698500"/>
                </a:lnTo>
                <a:lnTo>
                  <a:pt x="2839974" y="139700"/>
                </a:lnTo>
                <a:lnTo>
                  <a:pt x="2832857" y="95520"/>
                </a:lnTo>
                <a:lnTo>
                  <a:pt x="2813037" y="57168"/>
                </a:lnTo>
                <a:lnTo>
                  <a:pt x="2782805" y="26936"/>
                </a:lnTo>
                <a:lnTo>
                  <a:pt x="2744453" y="7116"/>
                </a:lnTo>
                <a:lnTo>
                  <a:pt x="2700274" y="0"/>
                </a:lnTo>
                <a:close/>
              </a:path>
              <a:path w="2840354" h="909954">
                <a:moveTo>
                  <a:pt x="2839974" y="698500"/>
                </a:moveTo>
                <a:lnTo>
                  <a:pt x="1163574" y="698500"/>
                </a:lnTo>
                <a:lnTo>
                  <a:pt x="1170690" y="742679"/>
                </a:lnTo>
                <a:lnTo>
                  <a:pt x="1190510" y="781031"/>
                </a:lnTo>
                <a:lnTo>
                  <a:pt x="1220742" y="811263"/>
                </a:lnTo>
                <a:lnTo>
                  <a:pt x="1259094" y="831083"/>
                </a:lnTo>
                <a:lnTo>
                  <a:pt x="1303274" y="838200"/>
                </a:lnTo>
                <a:lnTo>
                  <a:pt x="2700274" y="838200"/>
                </a:lnTo>
                <a:lnTo>
                  <a:pt x="2744453" y="831083"/>
                </a:lnTo>
                <a:lnTo>
                  <a:pt x="2782805" y="811263"/>
                </a:lnTo>
                <a:lnTo>
                  <a:pt x="2813037" y="781031"/>
                </a:lnTo>
                <a:lnTo>
                  <a:pt x="2832857" y="742679"/>
                </a:lnTo>
                <a:lnTo>
                  <a:pt x="2839974" y="698500"/>
                </a:lnTo>
                <a:close/>
              </a:path>
            </a:pathLst>
          </a:custGeom>
          <a:solidFill>
            <a:srgbClr val="FFFFB7"/>
          </a:solidFill>
        </p:spPr>
        <p:txBody>
          <a:bodyPr wrap="square" lIns="0" tIns="0" rIns="0" bIns="0" rtlCol="0"/>
          <a:lstStyle/>
          <a:p>
            <a:endParaRPr/>
          </a:p>
        </p:txBody>
      </p:sp>
      <p:sp>
        <p:nvSpPr>
          <p:cNvPr id="9" name="object 9"/>
          <p:cNvSpPr/>
          <p:nvPr/>
        </p:nvSpPr>
        <p:spPr>
          <a:xfrm>
            <a:off x="5059298" y="3352800"/>
            <a:ext cx="3018155" cy="1066800"/>
          </a:xfrm>
          <a:custGeom>
            <a:avLst/>
            <a:gdLst/>
            <a:ahLst/>
            <a:cxnLst/>
            <a:rect l="l" t="t" r="r" b="b"/>
            <a:pathLst>
              <a:path w="3018154" h="1066800">
                <a:moveTo>
                  <a:pt x="0" y="103124"/>
                </a:moveTo>
                <a:lnTo>
                  <a:pt x="1493901" y="444500"/>
                </a:lnTo>
                <a:lnTo>
                  <a:pt x="1493901" y="889000"/>
                </a:lnTo>
                <a:lnTo>
                  <a:pt x="1500253" y="936257"/>
                </a:lnTo>
                <a:lnTo>
                  <a:pt x="1518181" y="978727"/>
                </a:lnTo>
                <a:lnTo>
                  <a:pt x="1545986" y="1014714"/>
                </a:lnTo>
                <a:lnTo>
                  <a:pt x="1581973" y="1042519"/>
                </a:lnTo>
                <a:lnTo>
                  <a:pt x="1624443" y="1060447"/>
                </a:lnTo>
                <a:lnTo>
                  <a:pt x="1671701" y="1066800"/>
                </a:lnTo>
                <a:lnTo>
                  <a:pt x="2840101" y="1066800"/>
                </a:lnTo>
                <a:lnTo>
                  <a:pt x="2887358" y="1060447"/>
                </a:lnTo>
                <a:lnTo>
                  <a:pt x="2929828" y="1042519"/>
                </a:lnTo>
                <a:lnTo>
                  <a:pt x="2965815" y="1014714"/>
                </a:lnTo>
                <a:lnTo>
                  <a:pt x="2993620" y="978727"/>
                </a:lnTo>
                <a:lnTo>
                  <a:pt x="3011548" y="936257"/>
                </a:lnTo>
                <a:lnTo>
                  <a:pt x="3017901" y="889000"/>
                </a:lnTo>
                <a:lnTo>
                  <a:pt x="3017901" y="177800"/>
                </a:lnTo>
                <a:lnTo>
                  <a:pt x="1493901" y="177800"/>
                </a:lnTo>
                <a:lnTo>
                  <a:pt x="0" y="103124"/>
                </a:lnTo>
                <a:close/>
              </a:path>
              <a:path w="3018154" h="1066800">
                <a:moveTo>
                  <a:pt x="2840101" y="0"/>
                </a:moveTo>
                <a:lnTo>
                  <a:pt x="1671701" y="0"/>
                </a:lnTo>
                <a:lnTo>
                  <a:pt x="1624443" y="6352"/>
                </a:lnTo>
                <a:lnTo>
                  <a:pt x="1581973" y="24280"/>
                </a:lnTo>
                <a:lnTo>
                  <a:pt x="1545986" y="52085"/>
                </a:lnTo>
                <a:lnTo>
                  <a:pt x="1518181" y="88072"/>
                </a:lnTo>
                <a:lnTo>
                  <a:pt x="1500253" y="130542"/>
                </a:lnTo>
                <a:lnTo>
                  <a:pt x="1493901" y="177800"/>
                </a:lnTo>
                <a:lnTo>
                  <a:pt x="3017901" y="177800"/>
                </a:lnTo>
                <a:lnTo>
                  <a:pt x="3011548" y="130542"/>
                </a:lnTo>
                <a:lnTo>
                  <a:pt x="2993620" y="88072"/>
                </a:lnTo>
                <a:lnTo>
                  <a:pt x="2965815" y="52085"/>
                </a:lnTo>
                <a:lnTo>
                  <a:pt x="2929828" y="24280"/>
                </a:lnTo>
                <a:lnTo>
                  <a:pt x="2887358" y="6352"/>
                </a:lnTo>
                <a:lnTo>
                  <a:pt x="2840101" y="0"/>
                </a:lnTo>
                <a:close/>
              </a:path>
            </a:pathLst>
          </a:custGeom>
          <a:solidFill>
            <a:srgbClr val="FFFFB7"/>
          </a:solidFill>
        </p:spPr>
        <p:txBody>
          <a:bodyPr wrap="square" lIns="0" tIns="0" rIns="0" bIns="0" rtlCol="0"/>
          <a:lstStyle/>
          <a:p>
            <a:endParaRPr/>
          </a:p>
        </p:txBody>
      </p:sp>
      <p:sp>
        <p:nvSpPr>
          <p:cNvPr id="10" name="object 10"/>
          <p:cNvSpPr txBox="1"/>
          <p:nvPr/>
        </p:nvSpPr>
        <p:spPr>
          <a:xfrm>
            <a:off x="6597522" y="1235583"/>
            <a:ext cx="1425575" cy="3075940"/>
          </a:xfrm>
          <a:prstGeom prst="rect">
            <a:avLst/>
          </a:prstGeom>
        </p:spPr>
        <p:txBody>
          <a:bodyPr vert="horz" wrap="square" lIns="0" tIns="0" rIns="0" bIns="0" rtlCol="0">
            <a:spAutoFit/>
          </a:bodyPr>
          <a:lstStyle/>
          <a:p>
            <a:pPr marL="23495" marR="387985">
              <a:lnSpc>
                <a:spcPct val="100000"/>
              </a:lnSpc>
            </a:pPr>
            <a:r>
              <a:rPr sz="1400" b="1" dirty="0">
                <a:latin typeface="Times New Roman"/>
                <a:cs typeface="Times New Roman"/>
              </a:rPr>
              <a:t>Define the  </a:t>
            </a:r>
            <a:r>
              <a:rPr sz="1400" b="1" spc="-5" dirty="0">
                <a:latin typeface="Times New Roman"/>
                <a:cs typeface="Times New Roman"/>
              </a:rPr>
              <a:t>Currency</a:t>
            </a:r>
            <a:r>
              <a:rPr sz="1400" b="1" spc="-80" dirty="0">
                <a:latin typeface="Times New Roman"/>
                <a:cs typeface="Times New Roman"/>
              </a:rPr>
              <a:t> </a:t>
            </a:r>
            <a:r>
              <a:rPr sz="1400" b="1" dirty="0">
                <a:latin typeface="Times New Roman"/>
                <a:cs typeface="Times New Roman"/>
              </a:rPr>
              <a:t>for  the sales  or</a:t>
            </a:r>
            <a:r>
              <a:rPr sz="1400" b="1" spc="5" dirty="0">
                <a:latin typeface="Times New Roman"/>
                <a:cs typeface="Times New Roman"/>
              </a:rPr>
              <a:t>g</a:t>
            </a:r>
            <a:r>
              <a:rPr sz="1400" b="1" dirty="0">
                <a:latin typeface="Times New Roman"/>
                <a:cs typeface="Times New Roman"/>
              </a:rPr>
              <a:t>aniz</a:t>
            </a:r>
            <a:r>
              <a:rPr sz="1400" b="1" spc="-10" dirty="0">
                <a:latin typeface="Times New Roman"/>
                <a:cs typeface="Times New Roman"/>
              </a:rPr>
              <a:t>a</a:t>
            </a:r>
            <a:r>
              <a:rPr sz="1400" b="1" dirty="0">
                <a:latin typeface="Times New Roman"/>
                <a:cs typeface="Times New Roman"/>
              </a:rPr>
              <a:t>t</a:t>
            </a:r>
            <a:r>
              <a:rPr sz="1400" b="1" spc="-10" dirty="0">
                <a:latin typeface="Times New Roman"/>
                <a:cs typeface="Times New Roman"/>
              </a:rPr>
              <a:t>i</a:t>
            </a:r>
            <a:r>
              <a:rPr sz="1400" b="1" dirty="0">
                <a:latin typeface="Times New Roman"/>
                <a:cs typeface="Times New Roman"/>
              </a:rPr>
              <a:t>o</a:t>
            </a:r>
            <a:r>
              <a:rPr sz="1400" b="1" spc="-15" dirty="0">
                <a:latin typeface="Times New Roman"/>
                <a:cs typeface="Times New Roman"/>
              </a:rPr>
              <a:t>n</a:t>
            </a:r>
            <a:r>
              <a:rPr sz="1400" b="1" dirty="0">
                <a:latin typeface="Times New Roman"/>
                <a:cs typeface="Times New Roman"/>
              </a:rPr>
              <a:t>.</a:t>
            </a:r>
            <a:endParaRPr sz="1400">
              <a:latin typeface="Times New Roman"/>
              <a:cs typeface="Times New Roman"/>
            </a:endParaRPr>
          </a:p>
          <a:p>
            <a:pPr>
              <a:lnSpc>
                <a:spcPct val="100000"/>
              </a:lnSpc>
            </a:pPr>
            <a:endParaRPr sz="1400">
              <a:latin typeface="Times New Roman"/>
              <a:cs typeface="Times New Roman"/>
            </a:endParaRPr>
          </a:p>
          <a:p>
            <a:pPr marL="12700" marR="5080">
              <a:lnSpc>
                <a:spcPct val="100000"/>
              </a:lnSpc>
              <a:spcBef>
                <a:spcPts val="1180"/>
              </a:spcBef>
            </a:pPr>
            <a:r>
              <a:rPr sz="1400" b="1" dirty="0">
                <a:latin typeface="Times New Roman"/>
                <a:cs typeface="Times New Roman"/>
              </a:rPr>
              <a:t>Assign </a:t>
            </a:r>
            <a:r>
              <a:rPr sz="1400" b="1" spc="-5" dirty="0">
                <a:latin typeface="Times New Roman"/>
                <a:cs typeface="Times New Roman"/>
              </a:rPr>
              <a:t>Customer  </a:t>
            </a:r>
            <a:r>
              <a:rPr sz="1400" b="1" dirty="0">
                <a:latin typeface="Times New Roman"/>
                <a:cs typeface="Times New Roman"/>
              </a:rPr>
              <a:t>for</a:t>
            </a:r>
            <a:r>
              <a:rPr sz="1400" b="1" spc="-105" dirty="0">
                <a:latin typeface="Times New Roman"/>
                <a:cs typeface="Times New Roman"/>
              </a:rPr>
              <a:t> </a:t>
            </a:r>
            <a:r>
              <a:rPr sz="1400" b="1" spc="-5" dirty="0">
                <a:latin typeface="Times New Roman"/>
                <a:cs typeface="Times New Roman"/>
              </a:rPr>
              <a:t>Inter-company  billing</a:t>
            </a:r>
            <a:endParaRPr sz="1400">
              <a:latin typeface="Times New Roman"/>
              <a:cs typeface="Times New Roman"/>
            </a:endParaRPr>
          </a:p>
          <a:p>
            <a:pPr>
              <a:lnSpc>
                <a:spcPct val="100000"/>
              </a:lnSpc>
            </a:pPr>
            <a:endParaRPr sz="1400">
              <a:latin typeface="Times New Roman"/>
              <a:cs typeface="Times New Roman"/>
            </a:endParaRPr>
          </a:p>
          <a:p>
            <a:pPr marL="99695" marR="295275">
              <a:lnSpc>
                <a:spcPct val="100000"/>
              </a:lnSpc>
              <a:spcBef>
                <a:spcPts val="1240"/>
              </a:spcBef>
            </a:pPr>
            <a:r>
              <a:rPr sz="1400" b="1" dirty="0">
                <a:latin typeface="Times New Roman"/>
                <a:cs typeface="Times New Roman"/>
              </a:rPr>
              <a:t>Define the  working</a:t>
            </a:r>
            <a:r>
              <a:rPr sz="1400" b="1" spc="-114" dirty="0">
                <a:latin typeface="Times New Roman"/>
                <a:cs typeface="Times New Roman"/>
              </a:rPr>
              <a:t> </a:t>
            </a:r>
            <a:r>
              <a:rPr sz="1400" b="1" dirty="0">
                <a:latin typeface="Times New Roman"/>
                <a:cs typeface="Times New Roman"/>
              </a:rPr>
              <a:t>days  for the sales  </a:t>
            </a:r>
            <a:r>
              <a:rPr sz="1400" b="1" spc="-5" dirty="0">
                <a:latin typeface="Times New Roman"/>
                <a:cs typeface="Times New Roman"/>
              </a:rPr>
              <a:t>organization.</a:t>
            </a:r>
            <a:endParaRPr sz="1400">
              <a:latin typeface="Times New Roman"/>
              <a:cs typeface="Times New Roman"/>
            </a:endParaRPr>
          </a:p>
        </p:txBody>
      </p:sp>
      <p:sp>
        <p:nvSpPr>
          <p:cNvPr id="11" name="object 11"/>
          <p:cNvSpPr/>
          <p:nvPr/>
        </p:nvSpPr>
        <p:spPr>
          <a:xfrm>
            <a:off x="3567048" y="3808476"/>
            <a:ext cx="4510405" cy="1983105"/>
          </a:xfrm>
          <a:custGeom>
            <a:avLst/>
            <a:gdLst/>
            <a:ahLst/>
            <a:cxnLst/>
            <a:rect l="l" t="t" r="r" b="b"/>
            <a:pathLst>
              <a:path w="4510405" h="1983104">
                <a:moveTo>
                  <a:pt x="0" y="0"/>
                </a:moveTo>
                <a:lnTo>
                  <a:pt x="2986151" y="1271524"/>
                </a:lnTo>
                <a:lnTo>
                  <a:pt x="2986151" y="1779524"/>
                </a:lnTo>
                <a:lnTo>
                  <a:pt x="2991515" y="1826113"/>
                </a:lnTo>
                <a:lnTo>
                  <a:pt x="3006796" y="1868883"/>
                </a:lnTo>
                <a:lnTo>
                  <a:pt x="3030777" y="1906612"/>
                </a:lnTo>
                <a:lnTo>
                  <a:pt x="3062241" y="1938081"/>
                </a:lnTo>
                <a:lnTo>
                  <a:pt x="3099969" y="1962069"/>
                </a:lnTo>
                <a:lnTo>
                  <a:pt x="3142745" y="1977356"/>
                </a:lnTo>
                <a:lnTo>
                  <a:pt x="3189351" y="1982724"/>
                </a:lnTo>
                <a:lnTo>
                  <a:pt x="4306951" y="1982724"/>
                </a:lnTo>
                <a:lnTo>
                  <a:pt x="4353556" y="1977356"/>
                </a:lnTo>
                <a:lnTo>
                  <a:pt x="4396332" y="1962069"/>
                </a:lnTo>
                <a:lnTo>
                  <a:pt x="4434060" y="1938081"/>
                </a:lnTo>
                <a:lnTo>
                  <a:pt x="4465524" y="1906612"/>
                </a:lnTo>
                <a:lnTo>
                  <a:pt x="4489505" y="1868883"/>
                </a:lnTo>
                <a:lnTo>
                  <a:pt x="4504786" y="1826113"/>
                </a:lnTo>
                <a:lnTo>
                  <a:pt x="4510151" y="1779524"/>
                </a:lnTo>
                <a:lnTo>
                  <a:pt x="4510151" y="966724"/>
                </a:lnTo>
                <a:lnTo>
                  <a:pt x="2986151" y="966724"/>
                </a:lnTo>
                <a:lnTo>
                  <a:pt x="0" y="0"/>
                </a:lnTo>
                <a:close/>
              </a:path>
              <a:path w="4510405" h="1983104">
                <a:moveTo>
                  <a:pt x="4306951" y="763524"/>
                </a:moveTo>
                <a:lnTo>
                  <a:pt x="3189351" y="763524"/>
                </a:lnTo>
                <a:lnTo>
                  <a:pt x="3142745" y="768888"/>
                </a:lnTo>
                <a:lnTo>
                  <a:pt x="3099969" y="784169"/>
                </a:lnTo>
                <a:lnTo>
                  <a:pt x="3062241" y="808150"/>
                </a:lnTo>
                <a:lnTo>
                  <a:pt x="3030777" y="839614"/>
                </a:lnTo>
                <a:lnTo>
                  <a:pt x="3006796" y="877342"/>
                </a:lnTo>
                <a:lnTo>
                  <a:pt x="2991515" y="920118"/>
                </a:lnTo>
                <a:lnTo>
                  <a:pt x="2986151" y="966724"/>
                </a:lnTo>
                <a:lnTo>
                  <a:pt x="4510151" y="966724"/>
                </a:lnTo>
                <a:lnTo>
                  <a:pt x="4504786" y="920118"/>
                </a:lnTo>
                <a:lnTo>
                  <a:pt x="4489505" y="877342"/>
                </a:lnTo>
                <a:lnTo>
                  <a:pt x="4465524" y="839614"/>
                </a:lnTo>
                <a:lnTo>
                  <a:pt x="4434060" y="808150"/>
                </a:lnTo>
                <a:lnTo>
                  <a:pt x="4396332" y="784169"/>
                </a:lnTo>
                <a:lnTo>
                  <a:pt x="4353556" y="768888"/>
                </a:lnTo>
                <a:lnTo>
                  <a:pt x="4306951" y="763524"/>
                </a:lnTo>
                <a:close/>
              </a:path>
            </a:pathLst>
          </a:custGeom>
          <a:solidFill>
            <a:srgbClr val="FFFFB7"/>
          </a:solidFill>
        </p:spPr>
        <p:txBody>
          <a:bodyPr wrap="square" lIns="0" tIns="0" rIns="0" bIns="0" rtlCol="0"/>
          <a:lstStyle/>
          <a:p>
            <a:endParaRPr/>
          </a:p>
        </p:txBody>
      </p:sp>
      <p:sp>
        <p:nvSpPr>
          <p:cNvPr id="12" name="object 12"/>
          <p:cNvSpPr txBox="1"/>
          <p:nvPr/>
        </p:nvSpPr>
        <p:spPr>
          <a:xfrm>
            <a:off x="6692645" y="4672457"/>
            <a:ext cx="1236345" cy="1079500"/>
          </a:xfrm>
          <a:prstGeom prst="rect">
            <a:avLst/>
          </a:prstGeom>
        </p:spPr>
        <p:txBody>
          <a:bodyPr vert="horz" wrap="square" lIns="0" tIns="0" rIns="0" bIns="0" rtlCol="0">
            <a:spAutoFit/>
          </a:bodyPr>
          <a:lstStyle/>
          <a:p>
            <a:pPr marL="12700" marR="5080">
              <a:lnSpc>
                <a:spcPct val="100000"/>
              </a:lnSpc>
            </a:pPr>
            <a:r>
              <a:rPr sz="1400" b="1" dirty="0">
                <a:latin typeface="Times New Roman"/>
                <a:cs typeface="Times New Roman"/>
              </a:rPr>
              <a:t>Select the</a:t>
            </a:r>
            <a:r>
              <a:rPr sz="1400" b="1" spc="-110" dirty="0">
                <a:latin typeface="Times New Roman"/>
                <a:cs typeface="Times New Roman"/>
              </a:rPr>
              <a:t> </a:t>
            </a:r>
            <a:r>
              <a:rPr sz="1400" b="1" dirty="0">
                <a:latin typeface="Times New Roman"/>
                <a:cs typeface="Times New Roman"/>
              </a:rPr>
              <a:t>check  box if you need  Rebate  </a:t>
            </a:r>
            <a:r>
              <a:rPr sz="1400" b="1" spc="-5" dirty="0">
                <a:latin typeface="Times New Roman"/>
                <a:cs typeface="Times New Roman"/>
              </a:rPr>
              <a:t>processing </a:t>
            </a:r>
            <a:r>
              <a:rPr sz="1400" b="1" dirty="0">
                <a:latin typeface="Times New Roman"/>
                <a:cs typeface="Times New Roman"/>
              </a:rPr>
              <a:t>to</a:t>
            </a:r>
            <a:r>
              <a:rPr sz="1400" b="1" spc="-100" dirty="0">
                <a:latin typeface="Times New Roman"/>
                <a:cs typeface="Times New Roman"/>
              </a:rPr>
              <a:t> </a:t>
            </a:r>
            <a:r>
              <a:rPr sz="1400" b="1" dirty="0">
                <a:latin typeface="Times New Roman"/>
                <a:cs typeface="Times New Roman"/>
              </a:rPr>
              <a:t>be  active.</a:t>
            </a:r>
            <a:endParaRPr sz="1400" dirty="0">
              <a:latin typeface="Times New Roman"/>
              <a:cs typeface="Times New Roman"/>
            </a:endParaRPr>
          </a:p>
        </p:txBody>
      </p:sp>
      <p:sp>
        <p:nvSpPr>
          <p:cNvPr id="13" name="object 13"/>
          <p:cNvSpPr/>
          <p:nvPr/>
        </p:nvSpPr>
        <p:spPr>
          <a:xfrm>
            <a:off x="2955925" y="3443223"/>
            <a:ext cx="3140075" cy="2881630"/>
          </a:xfrm>
          <a:custGeom>
            <a:avLst/>
            <a:gdLst/>
            <a:ahLst/>
            <a:cxnLst/>
            <a:rect l="l" t="t" r="r" b="b"/>
            <a:pathLst>
              <a:path w="3140075" h="2881629">
                <a:moveTo>
                  <a:pt x="3013075" y="2119376"/>
                </a:moveTo>
                <a:lnTo>
                  <a:pt x="1743075" y="2119376"/>
                </a:lnTo>
                <a:lnTo>
                  <a:pt x="1693656" y="2129356"/>
                </a:lnTo>
                <a:lnTo>
                  <a:pt x="1653286" y="2156572"/>
                </a:lnTo>
                <a:lnTo>
                  <a:pt x="1626060" y="2196941"/>
                </a:lnTo>
                <a:lnTo>
                  <a:pt x="1616075" y="2246376"/>
                </a:lnTo>
                <a:lnTo>
                  <a:pt x="1616075" y="2754376"/>
                </a:lnTo>
                <a:lnTo>
                  <a:pt x="1626060" y="2803810"/>
                </a:lnTo>
                <a:lnTo>
                  <a:pt x="1653286" y="2844179"/>
                </a:lnTo>
                <a:lnTo>
                  <a:pt x="1693656" y="2871395"/>
                </a:lnTo>
                <a:lnTo>
                  <a:pt x="1743075" y="2881376"/>
                </a:lnTo>
                <a:lnTo>
                  <a:pt x="3013075" y="2881376"/>
                </a:lnTo>
                <a:lnTo>
                  <a:pt x="3062493" y="2871395"/>
                </a:lnTo>
                <a:lnTo>
                  <a:pt x="3102864" y="2844179"/>
                </a:lnTo>
                <a:lnTo>
                  <a:pt x="3130089" y="2803810"/>
                </a:lnTo>
                <a:lnTo>
                  <a:pt x="3140075" y="2754376"/>
                </a:lnTo>
                <a:lnTo>
                  <a:pt x="3140075" y="2246376"/>
                </a:lnTo>
                <a:lnTo>
                  <a:pt x="3130089" y="2196941"/>
                </a:lnTo>
                <a:lnTo>
                  <a:pt x="3102864" y="2156572"/>
                </a:lnTo>
                <a:lnTo>
                  <a:pt x="3062493" y="2129356"/>
                </a:lnTo>
                <a:lnTo>
                  <a:pt x="3013075" y="2119376"/>
                </a:lnTo>
                <a:close/>
              </a:path>
              <a:path w="3140075" h="2881629">
                <a:moveTo>
                  <a:pt x="0" y="0"/>
                </a:moveTo>
                <a:lnTo>
                  <a:pt x="1870075" y="2119376"/>
                </a:lnTo>
                <a:lnTo>
                  <a:pt x="2251075" y="2119376"/>
                </a:lnTo>
                <a:lnTo>
                  <a:pt x="0" y="0"/>
                </a:lnTo>
                <a:close/>
              </a:path>
            </a:pathLst>
          </a:custGeom>
          <a:solidFill>
            <a:srgbClr val="FFFFB7"/>
          </a:solidFill>
        </p:spPr>
        <p:txBody>
          <a:bodyPr wrap="square" lIns="0" tIns="0" rIns="0" bIns="0" rtlCol="0"/>
          <a:lstStyle/>
          <a:p>
            <a:endParaRPr/>
          </a:p>
        </p:txBody>
      </p:sp>
      <p:sp>
        <p:nvSpPr>
          <p:cNvPr id="14" name="object 14"/>
          <p:cNvSpPr txBox="1"/>
          <p:nvPr/>
        </p:nvSpPr>
        <p:spPr>
          <a:xfrm>
            <a:off x="4688585" y="5641136"/>
            <a:ext cx="1185545" cy="225425"/>
          </a:xfrm>
          <a:prstGeom prst="rect">
            <a:avLst/>
          </a:prstGeom>
        </p:spPr>
        <p:txBody>
          <a:bodyPr vert="horz" wrap="square" lIns="0" tIns="0" rIns="0" bIns="0" rtlCol="0">
            <a:spAutoFit/>
          </a:bodyPr>
          <a:lstStyle/>
          <a:p>
            <a:pPr marL="12700">
              <a:lnSpc>
                <a:spcPct val="100000"/>
              </a:lnSpc>
            </a:pPr>
            <a:r>
              <a:rPr sz="1400" b="1" spc="-5" dirty="0">
                <a:latin typeface="Times New Roman"/>
                <a:cs typeface="Times New Roman"/>
              </a:rPr>
              <a:t>Address</a:t>
            </a:r>
            <a:r>
              <a:rPr sz="1400" b="1" spc="-95" dirty="0">
                <a:latin typeface="Times New Roman"/>
                <a:cs typeface="Times New Roman"/>
              </a:rPr>
              <a:t> </a:t>
            </a:r>
            <a:r>
              <a:rPr sz="1400" b="1" dirty="0">
                <a:latin typeface="Times New Roman"/>
                <a:cs typeface="Times New Roman"/>
              </a:rPr>
              <a:t>details</a:t>
            </a:r>
            <a:endParaRPr sz="1400">
              <a:latin typeface="Times New Roman"/>
              <a:cs typeface="Times New Roman"/>
            </a:endParaRPr>
          </a:p>
        </p:txBody>
      </p:sp>
      <p:sp>
        <p:nvSpPr>
          <p:cNvPr id="15" name="object 15"/>
          <p:cNvSpPr/>
          <p:nvPr/>
        </p:nvSpPr>
        <p:spPr>
          <a:xfrm>
            <a:off x="2109723" y="2290826"/>
            <a:ext cx="2157730" cy="4034154"/>
          </a:xfrm>
          <a:custGeom>
            <a:avLst/>
            <a:gdLst/>
            <a:ahLst/>
            <a:cxnLst/>
            <a:rect l="l" t="t" r="r" b="b"/>
            <a:pathLst>
              <a:path w="2157729" h="4034154">
                <a:moveTo>
                  <a:pt x="2030476" y="3271774"/>
                </a:moveTo>
                <a:lnTo>
                  <a:pt x="760476" y="3271774"/>
                </a:lnTo>
                <a:lnTo>
                  <a:pt x="711057" y="3281754"/>
                </a:lnTo>
                <a:lnTo>
                  <a:pt x="670687" y="3308970"/>
                </a:lnTo>
                <a:lnTo>
                  <a:pt x="643461" y="3349339"/>
                </a:lnTo>
                <a:lnTo>
                  <a:pt x="633476" y="3398774"/>
                </a:lnTo>
                <a:lnTo>
                  <a:pt x="633476" y="3906774"/>
                </a:lnTo>
                <a:lnTo>
                  <a:pt x="643461" y="3956208"/>
                </a:lnTo>
                <a:lnTo>
                  <a:pt x="670686" y="3996577"/>
                </a:lnTo>
                <a:lnTo>
                  <a:pt x="711057" y="4023793"/>
                </a:lnTo>
                <a:lnTo>
                  <a:pt x="760476" y="4033774"/>
                </a:lnTo>
                <a:lnTo>
                  <a:pt x="2030476" y="4033774"/>
                </a:lnTo>
                <a:lnTo>
                  <a:pt x="2079894" y="4023793"/>
                </a:lnTo>
                <a:lnTo>
                  <a:pt x="2120265" y="3996577"/>
                </a:lnTo>
                <a:lnTo>
                  <a:pt x="2147490" y="3956208"/>
                </a:lnTo>
                <a:lnTo>
                  <a:pt x="2157476" y="3906774"/>
                </a:lnTo>
                <a:lnTo>
                  <a:pt x="2157476" y="3398774"/>
                </a:lnTo>
                <a:lnTo>
                  <a:pt x="2147490" y="3349339"/>
                </a:lnTo>
                <a:lnTo>
                  <a:pt x="2120265" y="3308970"/>
                </a:lnTo>
                <a:lnTo>
                  <a:pt x="2079894" y="3281754"/>
                </a:lnTo>
                <a:lnTo>
                  <a:pt x="2030476" y="3271774"/>
                </a:lnTo>
                <a:close/>
              </a:path>
              <a:path w="2157729" h="4034154">
                <a:moveTo>
                  <a:pt x="0" y="0"/>
                </a:moveTo>
                <a:lnTo>
                  <a:pt x="887476" y="3271774"/>
                </a:lnTo>
                <a:lnTo>
                  <a:pt x="1268476" y="3271774"/>
                </a:lnTo>
                <a:lnTo>
                  <a:pt x="0" y="0"/>
                </a:lnTo>
                <a:close/>
              </a:path>
            </a:pathLst>
          </a:custGeom>
          <a:solidFill>
            <a:srgbClr val="FFFFB7"/>
          </a:solidFill>
        </p:spPr>
        <p:txBody>
          <a:bodyPr wrap="square" lIns="0" tIns="0" rIns="0" bIns="0" rtlCol="0"/>
          <a:lstStyle/>
          <a:p>
            <a:endParaRPr/>
          </a:p>
        </p:txBody>
      </p:sp>
      <p:sp>
        <p:nvSpPr>
          <p:cNvPr id="16" name="object 16"/>
          <p:cNvSpPr txBox="1"/>
          <p:nvPr/>
        </p:nvSpPr>
        <p:spPr>
          <a:xfrm>
            <a:off x="2859404" y="5641136"/>
            <a:ext cx="1196975" cy="652145"/>
          </a:xfrm>
          <a:prstGeom prst="rect">
            <a:avLst/>
          </a:prstGeom>
        </p:spPr>
        <p:txBody>
          <a:bodyPr vert="horz" wrap="square" lIns="0" tIns="0" rIns="0" bIns="0" rtlCol="0">
            <a:spAutoFit/>
          </a:bodyPr>
          <a:lstStyle/>
          <a:p>
            <a:pPr marL="12700" marR="5080">
              <a:lnSpc>
                <a:spcPct val="100000"/>
              </a:lnSpc>
            </a:pPr>
            <a:r>
              <a:rPr sz="1400" b="1" dirty="0">
                <a:latin typeface="Times New Roman"/>
                <a:cs typeface="Times New Roman"/>
              </a:rPr>
              <a:t>Sales Org’</a:t>
            </a:r>
            <a:r>
              <a:rPr sz="1400" b="1" spc="-225" dirty="0">
                <a:latin typeface="Times New Roman"/>
                <a:cs typeface="Times New Roman"/>
              </a:rPr>
              <a:t> </a:t>
            </a:r>
            <a:r>
              <a:rPr sz="1400" b="1" dirty="0">
                <a:latin typeface="Times New Roman"/>
                <a:cs typeface="Times New Roman"/>
              </a:rPr>
              <a:t>code  (can be alpha  numeric)</a:t>
            </a:r>
            <a:endParaRPr sz="1400">
              <a:latin typeface="Times New Roman"/>
              <a:cs typeface="Times New Roman"/>
            </a:endParaRPr>
          </a:p>
        </p:txBody>
      </p:sp>
      <p:sp>
        <p:nvSpPr>
          <p:cNvPr id="19" name="object 19"/>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24</a:t>
            </a:fld>
            <a:endParaRPr sz="1200">
              <a:latin typeface="Symbol"/>
              <a:cs typeface="Symbol"/>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ine Sales</a:t>
            </a:r>
            <a:r>
              <a:rPr lang="en-US" spc="-50" dirty="0"/>
              <a:t> </a:t>
            </a:r>
            <a:r>
              <a:rPr lang="en-US" dirty="0"/>
              <a:t>Organization</a:t>
            </a:r>
          </a:p>
        </p:txBody>
      </p:sp>
      <p:sp>
        <p:nvSpPr>
          <p:cNvPr id="4" name="object 17"/>
          <p:cNvSpPr txBox="1"/>
          <p:nvPr/>
        </p:nvSpPr>
        <p:spPr>
          <a:xfrm>
            <a:off x="171734" y="2971800"/>
            <a:ext cx="8610600" cy="338554"/>
          </a:xfrm>
          <a:prstGeom prst="rect">
            <a:avLst/>
          </a:prstGeom>
        </p:spPr>
        <p:txBody>
          <a:bodyPr vert="horz" wrap="square" lIns="0" tIns="0" rIns="0" bIns="0" rtlCol="0">
            <a:spAutoFit/>
          </a:bodyPr>
          <a:lstStyle/>
          <a:p>
            <a:pPr marL="12700">
              <a:lnSpc>
                <a:spcPct val="100000"/>
              </a:lnSpc>
            </a:pPr>
            <a:r>
              <a:rPr sz="2200" spc="-5" dirty="0">
                <a:latin typeface="Arial"/>
                <a:cs typeface="Arial"/>
              </a:rPr>
              <a:t>Display IMG</a:t>
            </a:r>
            <a:r>
              <a:rPr sz="2200" spc="-5" dirty="0">
                <a:latin typeface="Wingdings"/>
                <a:cs typeface="Wingdings"/>
              </a:rPr>
              <a:t></a:t>
            </a:r>
            <a:r>
              <a:rPr sz="2200" spc="-5" dirty="0">
                <a:latin typeface="Times New Roman"/>
                <a:cs typeface="Times New Roman"/>
              </a:rPr>
              <a:t> </a:t>
            </a:r>
            <a:r>
              <a:rPr sz="2200" spc="-5" dirty="0">
                <a:latin typeface="Arial"/>
                <a:cs typeface="Arial"/>
              </a:rPr>
              <a:t>Enterprise Structure</a:t>
            </a:r>
            <a:r>
              <a:rPr sz="2200" spc="-5" dirty="0">
                <a:latin typeface="Wingdings"/>
                <a:cs typeface="Wingdings"/>
              </a:rPr>
              <a:t></a:t>
            </a:r>
            <a:r>
              <a:rPr sz="2200" spc="-5" dirty="0">
                <a:latin typeface="Times New Roman"/>
                <a:cs typeface="Times New Roman"/>
              </a:rPr>
              <a:t> </a:t>
            </a:r>
            <a:r>
              <a:rPr sz="2200" spc="-5" dirty="0">
                <a:latin typeface="Arial"/>
                <a:cs typeface="Arial"/>
              </a:rPr>
              <a:t>Definition</a:t>
            </a:r>
            <a:r>
              <a:rPr sz="2200" spc="-5" dirty="0">
                <a:latin typeface="Wingdings"/>
                <a:cs typeface="Wingdings"/>
              </a:rPr>
              <a:t></a:t>
            </a:r>
            <a:r>
              <a:rPr sz="2200" spc="-5" dirty="0">
                <a:latin typeface="Arial"/>
                <a:cs typeface="Arial"/>
              </a:rPr>
              <a:t>Sales &amp;</a:t>
            </a:r>
            <a:r>
              <a:rPr sz="2200" spc="254" dirty="0">
                <a:latin typeface="Arial"/>
                <a:cs typeface="Arial"/>
              </a:rPr>
              <a:t> </a:t>
            </a:r>
            <a:r>
              <a:rPr sz="2200" spc="-5" dirty="0">
                <a:latin typeface="Arial"/>
                <a:cs typeface="Arial"/>
              </a:rPr>
              <a:t>Distribution</a:t>
            </a:r>
            <a:endParaRPr sz="2200" dirty="0">
              <a:latin typeface="Arial"/>
              <a:cs typeface="Arial"/>
            </a:endParaRPr>
          </a:p>
        </p:txBody>
      </p:sp>
    </p:spTree>
    <p:extLst>
      <p:ext uri="{BB962C8B-B14F-4D97-AF65-F5344CB8AC3E}">
        <p14:creationId xmlns:p14="http://schemas.microsoft.com/office/powerpoint/2010/main" xmlns="" val="297315619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8679180" y="306324"/>
            <a:ext cx="464820" cy="661415"/>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304800" y="1219200"/>
            <a:ext cx="2286000" cy="2133600"/>
          </a:xfrm>
          <a:custGeom>
            <a:avLst/>
            <a:gdLst/>
            <a:ahLst/>
            <a:cxnLst/>
            <a:rect l="l" t="t" r="r" b="b"/>
            <a:pathLst>
              <a:path w="2286000" h="2133600">
                <a:moveTo>
                  <a:pt x="1143000" y="0"/>
                </a:moveTo>
                <a:lnTo>
                  <a:pt x="1093418" y="985"/>
                </a:lnTo>
                <a:lnTo>
                  <a:pt x="1044376" y="3915"/>
                </a:lnTo>
                <a:lnTo>
                  <a:pt x="995917" y="8750"/>
                </a:lnTo>
                <a:lnTo>
                  <a:pt x="948083" y="15450"/>
                </a:lnTo>
                <a:lnTo>
                  <a:pt x="900917" y="23974"/>
                </a:lnTo>
                <a:lnTo>
                  <a:pt x="854463" y="34283"/>
                </a:lnTo>
                <a:lnTo>
                  <a:pt x="808762" y="46336"/>
                </a:lnTo>
                <a:lnTo>
                  <a:pt x="763858" y="60093"/>
                </a:lnTo>
                <a:lnTo>
                  <a:pt x="719794" y="75515"/>
                </a:lnTo>
                <a:lnTo>
                  <a:pt x="676613" y="92561"/>
                </a:lnTo>
                <a:lnTo>
                  <a:pt x="634357" y="111192"/>
                </a:lnTo>
                <a:lnTo>
                  <a:pt x="593069" y="131366"/>
                </a:lnTo>
                <a:lnTo>
                  <a:pt x="552793" y="153045"/>
                </a:lnTo>
                <a:lnTo>
                  <a:pt x="513571" y="176189"/>
                </a:lnTo>
                <a:lnTo>
                  <a:pt x="475446" y="200756"/>
                </a:lnTo>
                <a:lnTo>
                  <a:pt x="438461" y="226708"/>
                </a:lnTo>
                <a:lnTo>
                  <a:pt x="402659" y="254003"/>
                </a:lnTo>
                <a:lnTo>
                  <a:pt x="368082" y="282603"/>
                </a:lnTo>
                <a:lnTo>
                  <a:pt x="334775" y="312467"/>
                </a:lnTo>
                <a:lnTo>
                  <a:pt x="302778" y="343555"/>
                </a:lnTo>
                <a:lnTo>
                  <a:pt x="272136" y="375827"/>
                </a:lnTo>
                <a:lnTo>
                  <a:pt x="242892" y="409242"/>
                </a:lnTo>
                <a:lnTo>
                  <a:pt x="215087" y="443762"/>
                </a:lnTo>
                <a:lnTo>
                  <a:pt x="188766" y="479346"/>
                </a:lnTo>
                <a:lnTo>
                  <a:pt x="163970" y="515953"/>
                </a:lnTo>
                <a:lnTo>
                  <a:pt x="140743" y="553544"/>
                </a:lnTo>
                <a:lnTo>
                  <a:pt x="119128" y="592079"/>
                </a:lnTo>
                <a:lnTo>
                  <a:pt x="99168" y="631517"/>
                </a:lnTo>
                <a:lnTo>
                  <a:pt x="80905" y="671820"/>
                </a:lnTo>
                <a:lnTo>
                  <a:pt x="64382" y="712946"/>
                </a:lnTo>
                <a:lnTo>
                  <a:pt x="49643" y="754855"/>
                </a:lnTo>
                <a:lnTo>
                  <a:pt x="36729" y="797508"/>
                </a:lnTo>
                <a:lnTo>
                  <a:pt x="25685" y="840865"/>
                </a:lnTo>
                <a:lnTo>
                  <a:pt x="16553" y="884885"/>
                </a:lnTo>
                <a:lnTo>
                  <a:pt x="9375" y="929528"/>
                </a:lnTo>
                <a:lnTo>
                  <a:pt x="4195" y="974755"/>
                </a:lnTo>
                <a:lnTo>
                  <a:pt x="1056" y="1020526"/>
                </a:lnTo>
                <a:lnTo>
                  <a:pt x="0" y="1066800"/>
                </a:lnTo>
                <a:lnTo>
                  <a:pt x="1056" y="1113073"/>
                </a:lnTo>
                <a:lnTo>
                  <a:pt x="4195" y="1158844"/>
                </a:lnTo>
                <a:lnTo>
                  <a:pt x="9375" y="1204071"/>
                </a:lnTo>
                <a:lnTo>
                  <a:pt x="16553" y="1248714"/>
                </a:lnTo>
                <a:lnTo>
                  <a:pt x="25685" y="1292734"/>
                </a:lnTo>
                <a:lnTo>
                  <a:pt x="36729" y="1336091"/>
                </a:lnTo>
                <a:lnTo>
                  <a:pt x="49643" y="1378744"/>
                </a:lnTo>
                <a:lnTo>
                  <a:pt x="64382" y="1420653"/>
                </a:lnTo>
                <a:lnTo>
                  <a:pt x="80905" y="1461779"/>
                </a:lnTo>
                <a:lnTo>
                  <a:pt x="99168" y="1502082"/>
                </a:lnTo>
                <a:lnTo>
                  <a:pt x="119128" y="1541520"/>
                </a:lnTo>
                <a:lnTo>
                  <a:pt x="140743" y="1580055"/>
                </a:lnTo>
                <a:lnTo>
                  <a:pt x="163970" y="1617646"/>
                </a:lnTo>
                <a:lnTo>
                  <a:pt x="188766" y="1654253"/>
                </a:lnTo>
                <a:lnTo>
                  <a:pt x="215087" y="1689837"/>
                </a:lnTo>
                <a:lnTo>
                  <a:pt x="242892" y="1724357"/>
                </a:lnTo>
                <a:lnTo>
                  <a:pt x="272136" y="1757772"/>
                </a:lnTo>
                <a:lnTo>
                  <a:pt x="302778" y="1790044"/>
                </a:lnTo>
                <a:lnTo>
                  <a:pt x="334775" y="1821132"/>
                </a:lnTo>
                <a:lnTo>
                  <a:pt x="368082" y="1850996"/>
                </a:lnTo>
                <a:lnTo>
                  <a:pt x="402659" y="1879596"/>
                </a:lnTo>
                <a:lnTo>
                  <a:pt x="438461" y="1906891"/>
                </a:lnTo>
                <a:lnTo>
                  <a:pt x="475446" y="1932843"/>
                </a:lnTo>
                <a:lnTo>
                  <a:pt x="513571" y="1957410"/>
                </a:lnTo>
                <a:lnTo>
                  <a:pt x="552793" y="1980554"/>
                </a:lnTo>
                <a:lnTo>
                  <a:pt x="593069" y="2002233"/>
                </a:lnTo>
                <a:lnTo>
                  <a:pt x="634357" y="2022407"/>
                </a:lnTo>
                <a:lnTo>
                  <a:pt x="676613" y="2041038"/>
                </a:lnTo>
                <a:lnTo>
                  <a:pt x="719794" y="2058084"/>
                </a:lnTo>
                <a:lnTo>
                  <a:pt x="763858" y="2073506"/>
                </a:lnTo>
                <a:lnTo>
                  <a:pt x="808762" y="2087263"/>
                </a:lnTo>
                <a:lnTo>
                  <a:pt x="854463" y="2099316"/>
                </a:lnTo>
                <a:lnTo>
                  <a:pt x="900917" y="2109625"/>
                </a:lnTo>
                <a:lnTo>
                  <a:pt x="948083" y="2118149"/>
                </a:lnTo>
                <a:lnTo>
                  <a:pt x="995917" y="2124849"/>
                </a:lnTo>
                <a:lnTo>
                  <a:pt x="1044376" y="2129684"/>
                </a:lnTo>
                <a:lnTo>
                  <a:pt x="1093418" y="2132614"/>
                </a:lnTo>
                <a:lnTo>
                  <a:pt x="1143000" y="2133600"/>
                </a:lnTo>
                <a:lnTo>
                  <a:pt x="1192585" y="2132614"/>
                </a:lnTo>
                <a:lnTo>
                  <a:pt x="1241630" y="2129684"/>
                </a:lnTo>
                <a:lnTo>
                  <a:pt x="1290092" y="2124849"/>
                </a:lnTo>
                <a:lnTo>
                  <a:pt x="1337929" y="2118149"/>
                </a:lnTo>
                <a:lnTo>
                  <a:pt x="1385097" y="2109625"/>
                </a:lnTo>
                <a:lnTo>
                  <a:pt x="1431553" y="2099316"/>
                </a:lnTo>
                <a:lnTo>
                  <a:pt x="1477256" y="2087263"/>
                </a:lnTo>
                <a:lnTo>
                  <a:pt x="1522161" y="2073506"/>
                </a:lnTo>
                <a:lnTo>
                  <a:pt x="1566226" y="2058084"/>
                </a:lnTo>
                <a:lnTo>
                  <a:pt x="1609408" y="2041038"/>
                </a:lnTo>
                <a:lnTo>
                  <a:pt x="1651665" y="2022407"/>
                </a:lnTo>
                <a:lnTo>
                  <a:pt x="1692952" y="2002233"/>
                </a:lnTo>
                <a:lnTo>
                  <a:pt x="1733229" y="1980554"/>
                </a:lnTo>
                <a:lnTo>
                  <a:pt x="1772450" y="1957410"/>
                </a:lnTo>
                <a:lnTo>
                  <a:pt x="1810575" y="1932843"/>
                </a:lnTo>
                <a:lnTo>
                  <a:pt x="1847559" y="1906891"/>
                </a:lnTo>
                <a:lnTo>
                  <a:pt x="1883361" y="1879596"/>
                </a:lnTo>
                <a:lnTo>
                  <a:pt x="1917937" y="1850996"/>
                </a:lnTo>
                <a:lnTo>
                  <a:pt x="1951243" y="1821132"/>
                </a:lnTo>
                <a:lnTo>
                  <a:pt x="1983239" y="1790044"/>
                </a:lnTo>
                <a:lnTo>
                  <a:pt x="2013879" y="1757772"/>
                </a:lnTo>
                <a:lnTo>
                  <a:pt x="2043123" y="1724357"/>
                </a:lnTo>
                <a:lnTo>
                  <a:pt x="2070926" y="1689837"/>
                </a:lnTo>
                <a:lnTo>
                  <a:pt x="2097246" y="1654253"/>
                </a:lnTo>
                <a:lnTo>
                  <a:pt x="2122041" y="1617646"/>
                </a:lnTo>
                <a:lnTo>
                  <a:pt x="2145266" y="1580055"/>
                </a:lnTo>
                <a:lnTo>
                  <a:pt x="2166880" y="1541520"/>
                </a:lnTo>
                <a:lnTo>
                  <a:pt x="2186839" y="1502082"/>
                </a:lnTo>
                <a:lnTo>
                  <a:pt x="2205101" y="1461779"/>
                </a:lnTo>
                <a:lnTo>
                  <a:pt x="2221622" y="1420653"/>
                </a:lnTo>
                <a:lnTo>
                  <a:pt x="2236361" y="1378744"/>
                </a:lnTo>
                <a:lnTo>
                  <a:pt x="2249273" y="1336091"/>
                </a:lnTo>
                <a:lnTo>
                  <a:pt x="2260316" y="1292734"/>
                </a:lnTo>
                <a:lnTo>
                  <a:pt x="2269448" y="1248714"/>
                </a:lnTo>
                <a:lnTo>
                  <a:pt x="2276625" y="1204071"/>
                </a:lnTo>
                <a:lnTo>
                  <a:pt x="2281804" y="1158844"/>
                </a:lnTo>
                <a:lnTo>
                  <a:pt x="2284944" y="1113073"/>
                </a:lnTo>
                <a:lnTo>
                  <a:pt x="2286000" y="1066800"/>
                </a:lnTo>
                <a:lnTo>
                  <a:pt x="2284944" y="1020526"/>
                </a:lnTo>
                <a:lnTo>
                  <a:pt x="2281804" y="974755"/>
                </a:lnTo>
                <a:lnTo>
                  <a:pt x="2276625" y="929528"/>
                </a:lnTo>
                <a:lnTo>
                  <a:pt x="2269448" y="884885"/>
                </a:lnTo>
                <a:lnTo>
                  <a:pt x="2260316" y="840865"/>
                </a:lnTo>
                <a:lnTo>
                  <a:pt x="2249273" y="797508"/>
                </a:lnTo>
                <a:lnTo>
                  <a:pt x="2236361" y="754855"/>
                </a:lnTo>
                <a:lnTo>
                  <a:pt x="2221622" y="712946"/>
                </a:lnTo>
                <a:lnTo>
                  <a:pt x="2205101" y="671820"/>
                </a:lnTo>
                <a:lnTo>
                  <a:pt x="2186839" y="631517"/>
                </a:lnTo>
                <a:lnTo>
                  <a:pt x="2166880" y="592079"/>
                </a:lnTo>
                <a:lnTo>
                  <a:pt x="2145266" y="553544"/>
                </a:lnTo>
                <a:lnTo>
                  <a:pt x="2122041" y="515953"/>
                </a:lnTo>
                <a:lnTo>
                  <a:pt x="2097246" y="479346"/>
                </a:lnTo>
                <a:lnTo>
                  <a:pt x="2070926" y="443762"/>
                </a:lnTo>
                <a:lnTo>
                  <a:pt x="2043123" y="409242"/>
                </a:lnTo>
                <a:lnTo>
                  <a:pt x="2013879" y="375827"/>
                </a:lnTo>
                <a:lnTo>
                  <a:pt x="1983239" y="343555"/>
                </a:lnTo>
                <a:lnTo>
                  <a:pt x="1951243" y="312467"/>
                </a:lnTo>
                <a:lnTo>
                  <a:pt x="1917937" y="282603"/>
                </a:lnTo>
                <a:lnTo>
                  <a:pt x="1883361" y="254003"/>
                </a:lnTo>
                <a:lnTo>
                  <a:pt x="1847559" y="226708"/>
                </a:lnTo>
                <a:lnTo>
                  <a:pt x="1810575" y="200756"/>
                </a:lnTo>
                <a:lnTo>
                  <a:pt x="1772450" y="176189"/>
                </a:lnTo>
                <a:lnTo>
                  <a:pt x="1733229" y="153045"/>
                </a:lnTo>
                <a:lnTo>
                  <a:pt x="1692952" y="131366"/>
                </a:lnTo>
                <a:lnTo>
                  <a:pt x="1651665" y="111192"/>
                </a:lnTo>
                <a:lnTo>
                  <a:pt x="1609408" y="92561"/>
                </a:lnTo>
                <a:lnTo>
                  <a:pt x="1566226" y="75515"/>
                </a:lnTo>
                <a:lnTo>
                  <a:pt x="1522161" y="60093"/>
                </a:lnTo>
                <a:lnTo>
                  <a:pt x="1477256" y="46336"/>
                </a:lnTo>
                <a:lnTo>
                  <a:pt x="1431553" y="34283"/>
                </a:lnTo>
                <a:lnTo>
                  <a:pt x="1385097" y="23974"/>
                </a:lnTo>
                <a:lnTo>
                  <a:pt x="1337929" y="15450"/>
                </a:lnTo>
                <a:lnTo>
                  <a:pt x="1290092" y="8750"/>
                </a:lnTo>
                <a:lnTo>
                  <a:pt x="1241630" y="3915"/>
                </a:lnTo>
                <a:lnTo>
                  <a:pt x="1192585" y="985"/>
                </a:lnTo>
                <a:lnTo>
                  <a:pt x="1143000" y="0"/>
                </a:lnTo>
                <a:close/>
              </a:path>
            </a:pathLst>
          </a:custGeom>
          <a:solidFill>
            <a:srgbClr val="AED6FF"/>
          </a:solidFill>
        </p:spPr>
        <p:txBody>
          <a:bodyPr wrap="square" lIns="0" tIns="0" rIns="0" bIns="0" rtlCol="0"/>
          <a:lstStyle/>
          <a:p>
            <a:endParaRPr/>
          </a:p>
        </p:txBody>
      </p:sp>
      <p:sp>
        <p:nvSpPr>
          <p:cNvPr id="6" name="object 6"/>
          <p:cNvSpPr/>
          <p:nvPr/>
        </p:nvSpPr>
        <p:spPr>
          <a:xfrm>
            <a:off x="304800" y="1219200"/>
            <a:ext cx="2286000" cy="2133600"/>
          </a:xfrm>
          <a:custGeom>
            <a:avLst/>
            <a:gdLst/>
            <a:ahLst/>
            <a:cxnLst/>
            <a:rect l="l" t="t" r="r" b="b"/>
            <a:pathLst>
              <a:path w="2286000" h="2133600">
                <a:moveTo>
                  <a:pt x="0" y="1066800"/>
                </a:moveTo>
                <a:lnTo>
                  <a:pt x="1056" y="1020526"/>
                </a:lnTo>
                <a:lnTo>
                  <a:pt x="4195" y="974755"/>
                </a:lnTo>
                <a:lnTo>
                  <a:pt x="9375" y="929528"/>
                </a:lnTo>
                <a:lnTo>
                  <a:pt x="16553" y="884885"/>
                </a:lnTo>
                <a:lnTo>
                  <a:pt x="25685" y="840865"/>
                </a:lnTo>
                <a:lnTo>
                  <a:pt x="36729" y="797508"/>
                </a:lnTo>
                <a:lnTo>
                  <a:pt x="49643" y="754855"/>
                </a:lnTo>
                <a:lnTo>
                  <a:pt x="64382" y="712946"/>
                </a:lnTo>
                <a:lnTo>
                  <a:pt x="80905" y="671820"/>
                </a:lnTo>
                <a:lnTo>
                  <a:pt x="99168" y="631517"/>
                </a:lnTo>
                <a:lnTo>
                  <a:pt x="119128" y="592079"/>
                </a:lnTo>
                <a:lnTo>
                  <a:pt x="140743" y="553544"/>
                </a:lnTo>
                <a:lnTo>
                  <a:pt x="163970" y="515953"/>
                </a:lnTo>
                <a:lnTo>
                  <a:pt x="188766" y="479346"/>
                </a:lnTo>
                <a:lnTo>
                  <a:pt x="215087" y="443762"/>
                </a:lnTo>
                <a:lnTo>
                  <a:pt x="242892" y="409242"/>
                </a:lnTo>
                <a:lnTo>
                  <a:pt x="272136" y="375827"/>
                </a:lnTo>
                <a:lnTo>
                  <a:pt x="302778" y="343555"/>
                </a:lnTo>
                <a:lnTo>
                  <a:pt x="334775" y="312467"/>
                </a:lnTo>
                <a:lnTo>
                  <a:pt x="368082" y="282603"/>
                </a:lnTo>
                <a:lnTo>
                  <a:pt x="402659" y="254003"/>
                </a:lnTo>
                <a:lnTo>
                  <a:pt x="438461" y="226708"/>
                </a:lnTo>
                <a:lnTo>
                  <a:pt x="475446" y="200756"/>
                </a:lnTo>
                <a:lnTo>
                  <a:pt x="513571" y="176189"/>
                </a:lnTo>
                <a:lnTo>
                  <a:pt x="552793" y="153045"/>
                </a:lnTo>
                <a:lnTo>
                  <a:pt x="593069" y="131366"/>
                </a:lnTo>
                <a:lnTo>
                  <a:pt x="634357" y="111192"/>
                </a:lnTo>
                <a:lnTo>
                  <a:pt x="676613" y="92561"/>
                </a:lnTo>
                <a:lnTo>
                  <a:pt x="719794" y="75515"/>
                </a:lnTo>
                <a:lnTo>
                  <a:pt x="763858" y="60093"/>
                </a:lnTo>
                <a:lnTo>
                  <a:pt x="808762" y="46336"/>
                </a:lnTo>
                <a:lnTo>
                  <a:pt x="854463" y="34283"/>
                </a:lnTo>
                <a:lnTo>
                  <a:pt x="900917" y="23974"/>
                </a:lnTo>
                <a:lnTo>
                  <a:pt x="948083" y="15450"/>
                </a:lnTo>
                <a:lnTo>
                  <a:pt x="995917" y="8750"/>
                </a:lnTo>
                <a:lnTo>
                  <a:pt x="1044376" y="3915"/>
                </a:lnTo>
                <a:lnTo>
                  <a:pt x="1093418" y="985"/>
                </a:lnTo>
                <a:lnTo>
                  <a:pt x="1143000" y="0"/>
                </a:lnTo>
                <a:lnTo>
                  <a:pt x="1192585" y="985"/>
                </a:lnTo>
                <a:lnTo>
                  <a:pt x="1241630" y="3915"/>
                </a:lnTo>
                <a:lnTo>
                  <a:pt x="1290092" y="8750"/>
                </a:lnTo>
                <a:lnTo>
                  <a:pt x="1337929" y="15450"/>
                </a:lnTo>
                <a:lnTo>
                  <a:pt x="1385097" y="23974"/>
                </a:lnTo>
                <a:lnTo>
                  <a:pt x="1431553" y="34283"/>
                </a:lnTo>
                <a:lnTo>
                  <a:pt x="1477256" y="46336"/>
                </a:lnTo>
                <a:lnTo>
                  <a:pt x="1522161" y="60093"/>
                </a:lnTo>
                <a:lnTo>
                  <a:pt x="1566226" y="75515"/>
                </a:lnTo>
                <a:lnTo>
                  <a:pt x="1609408" y="92561"/>
                </a:lnTo>
                <a:lnTo>
                  <a:pt x="1651665" y="111192"/>
                </a:lnTo>
                <a:lnTo>
                  <a:pt x="1692952" y="131366"/>
                </a:lnTo>
                <a:lnTo>
                  <a:pt x="1733229" y="153045"/>
                </a:lnTo>
                <a:lnTo>
                  <a:pt x="1772450" y="176189"/>
                </a:lnTo>
                <a:lnTo>
                  <a:pt x="1810575" y="200756"/>
                </a:lnTo>
                <a:lnTo>
                  <a:pt x="1847559" y="226708"/>
                </a:lnTo>
                <a:lnTo>
                  <a:pt x="1883361" y="254003"/>
                </a:lnTo>
                <a:lnTo>
                  <a:pt x="1917937" y="282603"/>
                </a:lnTo>
                <a:lnTo>
                  <a:pt x="1951243" y="312467"/>
                </a:lnTo>
                <a:lnTo>
                  <a:pt x="1983239" y="343555"/>
                </a:lnTo>
                <a:lnTo>
                  <a:pt x="2013879" y="375827"/>
                </a:lnTo>
                <a:lnTo>
                  <a:pt x="2043123" y="409242"/>
                </a:lnTo>
                <a:lnTo>
                  <a:pt x="2070926" y="443762"/>
                </a:lnTo>
                <a:lnTo>
                  <a:pt x="2097246" y="479346"/>
                </a:lnTo>
                <a:lnTo>
                  <a:pt x="2122041" y="515953"/>
                </a:lnTo>
                <a:lnTo>
                  <a:pt x="2145266" y="553544"/>
                </a:lnTo>
                <a:lnTo>
                  <a:pt x="2166880" y="592079"/>
                </a:lnTo>
                <a:lnTo>
                  <a:pt x="2186839" y="631517"/>
                </a:lnTo>
                <a:lnTo>
                  <a:pt x="2205101" y="671820"/>
                </a:lnTo>
                <a:lnTo>
                  <a:pt x="2221622" y="712946"/>
                </a:lnTo>
                <a:lnTo>
                  <a:pt x="2236361" y="754855"/>
                </a:lnTo>
                <a:lnTo>
                  <a:pt x="2249273" y="797508"/>
                </a:lnTo>
                <a:lnTo>
                  <a:pt x="2260316" y="840865"/>
                </a:lnTo>
                <a:lnTo>
                  <a:pt x="2269448" y="884885"/>
                </a:lnTo>
                <a:lnTo>
                  <a:pt x="2276625" y="929528"/>
                </a:lnTo>
                <a:lnTo>
                  <a:pt x="2281804" y="974755"/>
                </a:lnTo>
                <a:lnTo>
                  <a:pt x="2284944" y="1020526"/>
                </a:lnTo>
                <a:lnTo>
                  <a:pt x="2286000" y="1066800"/>
                </a:lnTo>
                <a:lnTo>
                  <a:pt x="2284944" y="1113073"/>
                </a:lnTo>
                <a:lnTo>
                  <a:pt x="2281804" y="1158844"/>
                </a:lnTo>
                <a:lnTo>
                  <a:pt x="2276625" y="1204071"/>
                </a:lnTo>
                <a:lnTo>
                  <a:pt x="2269448" y="1248714"/>
                </a:lnTo>
                <a:lnTo>
                  <a:pt x="2260316" y="1292734"/>
                </a:lnTo>
                <a:lnTo>
                  <a:pt x="2249273" y="1336091"/>
                </a:lnTo>
                <a:lnTo>
                  <a:pt x="2236361" y="1378744"/>
                </a:lnTo>
                <a:lnTo>
                  <a:pt x="2221622" y="1420653"/>
                </a:lnTo>
                <a:lnTo>
                  <a:pt x="2205101" y="1461779"/>
                </a:lnTo>
                <a:lnTo>
                  <a:pt x="2186839" y="1502082"/>
                </a:lnTo>
                <a:lnTo>
                  <a:pt x="2166880" y="1541520"/>
                </a:lnTo>
                <a:lnTo>
                  <a:pt x="2145266" y="1580055"/>
                </a:lnTo>
                <a:lnTo>
                  <a:pt x="2122041" y="1617646"/>
                </a:lnTo>
                <a:lnTo>
                  <a:pt x="2097246" y="1654253"/>
                </a:lnTo>
                <a:lnTo>
                  <a:pt x="2070926" y="1689837"/>
                </a:lnTo>
                <a:lnTo>
                  <a:pt x="2043123" y="1724357"/>
                </a:lnTo>
                <a:lnTo>
                  <a:pt x="2013879" y="1757772"/>
                </a:lnTo>
                <a:lnTo>
                  <a:pt x="1983239" y="1790044"/>
                </a:lnTo>
                <a:lnTo>
                  <a:pt x="1951243" y="1821132"/>
                </a:lnTo>
                <a:lnTo>
                  <a:pt x="1917937" y="1850996"/>
                </a:lnTo>
                <a:lnTo>
                  <a:pt x="1883361" y="1879596"/>
                </a:lnTo>
                <a:lnTo>
                  <a:pt x="1847559" y="1906891"/>
                </a:lnTo>
                <a:lnTo>
                  <a:pt x="1810575" y="1932843"/>
                </a:lnTo>
                <a:lnTo>
                  <a:pt x="1772450" y="1957410"/>
                </a:lnTo>
                <a:lnTo>
                  <a:pt x="1733229" y="1980554"/>
                </a:lnTo>
                <a:lnTo>
                  <a:pt x="1692952" y="2002233"/>
                </a:lnTo>
                <a:lnTo>
                  <a:pt x="1651665" y="2022407"/>
                </a:lnTo>
                <a:lnTo>
                  <a:pt x="1609408" y="2041038"/>
                </a:lnTo>
                <a:lnTo>
                  <a:pt x="1566226" y="2058084"/>
                </a:lnTo>
                <a:lnTo>
                  <a:pt x="1522161" y="2073506"/>
                </a:lnTo>
                <a:lnTo>
                  <a:pt x="1477256" y="2087263"/>
                </a:lnTo>
                <a:lnTo>
                  <a:pt x="1431553" y="2099316"/>
                </a:lnTo>
                <a:lnTo>
                  <a:pt x="1385097" y="2109625"/>
                </a:lnTo>
                <a:lnTo>
                  <a:pt x="1337929" y="2118149"/>
                </a:lnTo>
                <a:lnTo>
                  <a:pt x="1290092" y="2124849"/>
                </a:lnTo>
                <a:lnTo>
                  <a:pt x="1241630" y="2129684"/>
                </a:lnTo>
                <a:lnTo>
                  <a:pt x="1192585" y="2132614"/>
                </a:lnTo>
                <a:lnTo>
                  <a:pt x="1143000" y="2133600"/>
                </a:lnTo>
                <a:lnTo>
                  <a:pt x="1093418" y="2132614"/>
                </a:lnTo>
                <a:lnTo>
                  <a:pt x="1044376" y="2129684"/>
                </a:lnTo>
                <a:lnTo>
                  <a:pt x="995917" y="2124849"/>
                </a:lnTo>
                <a:lnTo>
                  <a:pt x="948083" y="2118149"/>
                </a:lnTo>
                <a:lnTo>
                  <a:pt x="900917" y="2109625"/>
                </a:lnTo>
                <a:lnTo>
                  <a:pt x="854463" y="2099316"/>
                </a:lnTo>
                <a:lnTo>
                  <a:pt x="808762" y="2087263"/>
                </a:lnTo>
                <a:lnTo>
                  <a:pt x="763858" y="2073506"/>
                </a:lnTo>
                <a:lnTo>
                  <a:pt x="719794" y="2058084"/>
                </a:lnTo>
                <a:lnTo>
                  <a:pt x="676613" y="2041038"/>
                </a:lnTo>
                <a:lnTo>
                  <a:pt x="634357" y="2022407"/>
                </a:lnTo>
                <a:lnTo>
                  <a:pt x="593069" y="2002233"/>
                </a:lnTo>
                <a:lnTo>
                  <a:pt x="552793" y="1980554"/>
                </a:lnTo>
                <a:lnTo>
                  <a:pt x="513571" y="1957410"/>
                </a:lnTo>
                <a:lnTo>
                  <a:pt x="475446" y="1932843"/>
                </a:lnTo>
                <a:lnTo>
                  <a:pt x="438461" y="1906891"/>
                </a:lnTo>
                <a:lnTo>
                  <a:pt x="402659" y="1879596"/>
                </a:lnTo>
                <a:lnTo>
                  <a:pt x="368082" y="1850996"/>
                </a:lnTo>
                <a:lnTo>
                  <a:pt x="334775" y="1821132"/>
                </a:lnTo>
                <a:lnTo>
                  <a:pt x="302778" y="1790044"/>
                </a:lnTo>
                <a:lnTo>
                  <a:pt x="272136" y="1757772"/>
                </a:lnTo>
                <a:lnTo>
                  <a:pt x="242892" y="1724357"/>
                </a:lnTo>
                <a:lnTo>
                  <a:pt x="215087" y="1689837"/>
                </a:lnTo>
                <a:lnTo>
                  <a:pt x="188766" y="1654253"/>
                </a:lnTo>
                <a:lnTo>
                  <a:pt x="163970" y="1617646"/>
                </a:lnTo>
                <a:lnTo>
                  <a:pt x="140743" y="1580055"/>
                </a:lnTo>
                <a:lnTo>
                  <a:pt x="119128" y="1541520"/>
                </a:lnTo>
                <a:lnTo>
                  <a:pt x="99168" y="1502082"/>
                </a:lnTo>
                <a:lnTo>
                  <a:pt x="80905" y="1461779"/>
                </a:lnTo>
                <a:lnTo>
                  <a:pt x="64382" y="1420653"/>
                </a:lnTo>
                <a:lnTo>
                  <a:pt x="49643" y="1378744"/>
                </a:lnTo>
                <a:lnTo>
                  <a:pt x="36729" y="1336091"/>
                </a:lnTo>
                <a:lnTo>
                  <a:pt x="25685" y="1292734"/>
                </a:lnTo>
                <a:lnTo>
                  <a:pt x="16553" y="1248714"/>
                </a:lnTo>
                <a:lnTo>
                  <a:pt x="9375" y="1204071"/>
                </a:lnTo>
                <a:lnTo>
                  <a:pt x="4195" y="1158844"/>
                </a:lnTo>
                <a:lnTo>
                  <a:pt x="1056" y="1113073"/>
                </a:lnTo>
                <a:lnTo>
                  <a:pt x="0" y="1066800"/>
                </a:lnTo>
                <a:close/>
              </a:path>
            </a:pathLst>
          </a:custGeom>
          <a:ln w="88900">
            <a:solidFill>
              <a:srgbClr val="000080"/>
            </a:solidFill>
          </a:ln>
        </p:spPr>
        <p:txBody>
          <a:bodyPr wrap="square" lIns="0" tIns="0" rIns="0" bIns="0" rtlCol="0"/>
          <a:lstStyle/>
          <a:p>
            <a:endParaRPr/>
          </a:p>
        </p:txBody>
      </p:sp>
      <p:sp>
        <p:nvSpPr>
          <p:cNvPr id="7" name="object 7"/>
          <p:cNvSpPr/>
          <p:nvPr/>
        </p:nvSpPr>
        <p:spPr>
          <a:xfrm>
            <a:off x="833005" y="1391285"/>
            <a:ext cx="1177658" cy="619378"/>
          </a:xfrm>
          <a:prstGeom prst="rect">
            <a:avLst/>
          </a:prstGeom>
          <a:blipFill>
            <a:blip r:embed="rId3" cstate="print"/>
            <a:stretch>
              <a:fillRect/>
            </a:stretch>
          </a:blipFill>
        </p:spPr>
        <p:txBody>
          <a:bodyPr wrap="square" lIns="0" tIns="0" rIns="0" bIns="0" rtlCol="0"/>
          <a:lstStyle/>
          <a:p>
            <a:endParaRPr/>
          </a:p>
        </p:txBody>
      </p:sp>
      <p:sp>
        <p:nvSpPr>
          <p:cNvPr id="8" name="object 8"/>
          <p:cNvSpPr/>
          <p:nvPr/>
        </p:nvSpPr>
        <p:spPr>
          <a:xfrm>
            <a:off x="833005" y="1391285"/>
            <a:ext cx="1177925" cy="619760"/>
          </a:xfrm>
          <a:custGeom>
            <a:avLst/>
            <a:gdLst/>
            <a:ahLst/>
            <a:cxnLst/>
            <a:rect l="l" t="t" r="r" b="b"/>
            <a:pathLst>
              <a:path w="1177925" h="619760">
                <a:moveTo>
                  <a:pt x="0" y="309752"/>
                </a:moveTo>
                <a:lnTo>
                  <a:pt x="11962" y="247327"/>
                </a:lnTo>
                <a:lnTo>
                  <a:pt x="46271" y="189184"/>
                </a:lnTo>
                <a:lnTo>
                  <a:pt x="100558" y="136568"/>
                </a:lnTo>
                <a:lnTo>
                  <a:pt x="134453" y="112722"/>
                </a:lnTo>
                <a:lnTo>
                  <a:pt x="172454" y="90725"/>
                </a:lnTo>
                <a:lnTo>
                  <a:pt x="214266" y="70733"/>
                </a:lnTo>
                <a:lnTo>
                  <a:pt x="259591" y="52901"/>
                </a:lnTo>
                <a:lnTo>
                  <a:pt x="308134" y="37386"/>
                </a:lnTo>
                <a:lnTo>
                  <a:pt x="359600" y="24342"/>
                </a:lnTo>
                <a:lnTo>
                  <a:pt x="413691" y="13926"/>
                </a:lnTo>
                <a:lnTo>
                  <a:pt x="470112" y="6293"/>
                </a:lnTo>
                <a:lnTo>
                  <a:pt x="528567" y="1599"/>
                </a:lnTo>
                <a:lnTo>
                  <a:pt x="588759" y="0"/>
                </a:lnTo>
                <a:lnTo>
                  <a:pt x="648971" y="1599"/>
                </a:lnTo>
                <a:lnTo>
                  <a:pt x="707445" y="6293"/>
                </a:lnTo>
                <a:lnTo>
                  <a:pt x="763882" y="13926"/>
                </a:lnTo>
                <a:lnTo>
                  <a:pt x="817988" y="24342"/>
                </a:lnTo>
                <a:lnTo>
                  <a:pt x="869466" y="37386"/>
                </a:lnTo>
                <a:lnTo>
                  <a:pt x="918021" y="52901"/>
                </a:lnTo>
                <a:lnTo>
                  <a:pt x="963356" y="70733"/>
                </a:lnTo>
                <a:lnTo>
                  <a:pt x="1005176" y="90725"/>
                </a:lnTo>
                <a:lnTo>
                  <a:pt x="1043184" y="112722"/>
                </a:lnTo>
                <a:lnTo>
                  <a:pt x="1077085" y="136568"/>
                </a:lnTo>
                <a:lnTo>
                  <a:pt x="1106582" y="162107"/>
                </a:lnTo>
                <a:lnTo>
                  <a:pt x="1151183" y="217642"/>
                </a:lnTo>
                <a:lnTo>
                  <a:pt x="1174617" y="278083"/>
                </a:lnTo>
                <a:lnTo>
                  <a:pt x="1177658" y="309752"/>
                </a:lnTo>
                <a:lnTo>
                  <a:pt x="1174617" y="341400"/>
                </a:lnTo>
                <a:lnTo>
                  <a:pt x="1165694" y="372136"/>
                </a:lnTo>
                <a:lnTo>
                  <a:pt x="1131380" y="430248"/>
                </a:lnTo>
                <a:lnTo>
                  <a:pt x="1077085" y="482841"/>
                </a:lnTo>
                <a:lnTo>
                  <a:pt x="1043184" y="506679"/>
                </a:lnTo>
                <a:lnTo>
                  <a:pt x="1005176" y="528669"/>
                </a:lnTo>
                <a:lnTo>
                  <a:pt x="963356" y="548656"/>
                </a:lnTo>
                <a:lnTo>
                  <a:pt x="918021" y="566483"/>
                </a:lnTo>
                <a:lnTo>
                  <a:pt x="869466" y="581996"/>
                </a:lnTo>
                <a:lnTo>
                  <a:pt x="817988" y="595038"/>
                </a:lnTo>
                <a:lnTo>
                  <a:pt x="763882" y="605453"/>
                </a:lnTo>
                <a:lnTo>
                  <a:pt x="707445" y="613086"/>
                </a:lnTo>
                <a:lnTo>
                  <a:pt x="648971" y="617779"/>
                </a:lnTo>
                <a:lnTo>
                  <a:pt x="588759" y="619378"/>
                </a:lnTo>
                <a:lnTo>
                  <a:pt x="528567" y="617779"/>
                </a:lnTo>
                <a:lnTo>
                  <a:pt x="470112" y="613086"/>
                </a:lnTo>
                <a:lnTo>
                  <a:pt x="413691" y="605453"/>
                </a:lnTo>
                <a:lnTo>
                  <a:pt x="359600" y="595038"/>
                </a:lnTo>
                <a:lnTo>
                  <a:pt x="308134" y="581996"/>
                </a:lnTo>
                <a:lnTo>
                  <a:pt x="259591" y="566483"/>
                </a:lnTo>
                <a:lnTo>
                  <a:pt x="214266" y="548656"/>
                </a:lnTo>
                <a:lnTo>
                  <a:pt x="172454" y="528669"/>
                </a:lnTo>
                <a:lnTo>
                  <a:pt x="134453" y="506679"/>
                </a:lnTo>
                <a:lnTo>
                  <a:pt x="100558" y="482841"/>
                </a:lnTo>
                <a:lnTo>
                  <a:pt x="71066" y="457312"/>
                </a:lnTo>
                <a:lnTo>
                  <a:pt x="26472" y="401804"/>
                </a:lnTo>
                <a:lnTo>
                  <a:pt x="3040" y="341400"/>
                </a:lnTo>
                <a:lnTo>
                  <a:pt x="0" y="309752"/>
                </a:lnTo>
                <a:close/>
              </a:path>
            </a:pathLst>
          </a:custGeom>
          <a:ln w="12700">
            <a:solidFill>
              <a:srgbClr val="DBFFC8"/>
            </a:solidFill>
          </a:ln>
        </p:spPr>
        <p:txBody>
          <a:bodyPr wrap="square" lIns="0" tIns="0" rIns="0" bIns="0" rtlCol="0"/>
          <a:lstStyle/>
          <a:p>
            <a:endParaRPr/>
          </a:p>
        </p:txBody>
      </p:sp>
      <p:sp>
        <p:nvSpPr>
          <p:cNvPr id="9" name="object 9"/>
          <p:cNvSpPr txBox="1"/>
          <p:nvPr/>
        </p:nvSpPr>
        <p:spPr>
          <a:xfrm>
            <a:off x="933703" y="1419478"/>
            <a:ext cx="977265" cy="560705"/>
          </a:xfrm>
          <a:prstGeom prst="rect">
            <a:avLst/>
          </a:prstGeom>
        </p:spPr>
        <p:txBody>
          <a:bodyPr vert="horz" wrap="square" lIns="0" tIns="0" rIns="0" bIns="0" rtlCol="0">
            <a:spAutoFit/>
          </a:bodyPr>
          <a:lstStyle/>
          <a:p>
            <a:pPr marL="233679" marR="5080" indent="-220979">
              <a:lnSpc>
                <a:spcPct val="100000"/>
              </a:lnSpc>
            </a:pPr>
            <a:r>
              <a:rPr sz="1800" b="1" spc="-5" dirty="0">
                <a:latin typeface="Times New Roman"/>
                <a:cs typeface="Times New Roman"/>
              </a:rPr>
              <a:t>Com</a:t>
            </a:r>
            <a:r>
              <a:rPr sz="1800" b="1" spc="-15" dirty="0">
                <a:latin typeface="Times New Roman"/>
                <a:cs typeface="Times New Roman"/>
              </a:rPr>
              <a:t>p</a:t>
            </a:r>
            <a:r>
              <a:rPr sz="1800" b="1" dirty="0">
                <a:latin typeface="Times New Roman"/>
                <a:cs typeface="Times New Roman"/>
              </a:rPr>
              <a:t>any  </a:t>
            </a:r>
            <a:r>
              <a:rPr sz="1800" b="1" spc="-5" dirty="0">
                <a:latin typeface="Times New Roman"/>
                <a:cs typeface="Times New Roman"/>
              </a:rPr>
              <a:t>Code</a:t>
            </a:r>
            <a:endParaRPr sz="1800">
              <a:latin typeface="Times New Roman"/>
              <a:cs typeface="Times New Roman"/>
            </a:endParaRPr>
          </a:p>
        </p:txBody>
      </p:sp>
      <p:sp>
        <p:nvSpPr>
          <p:cNvPr id="10" name="object 10"/>
          <p:cNvSpPr/>
          <p:nvPr/>
        </p:nvSpPr>
        <p:spPr>
          <a:xfrm>
            <a:off x="581888" y="2492501"/>
            <a:ext cx="692683" cy="550545"/>
          </a:xfrm>
          <a:prstGeom prst="rect">
            <a:avLst/>
          </a:prstGeom>
          <a:blipFill>
            <a:blip r:embed="rId4" cstate="print"/>
            <a:stretch>
              <a:fillRect/>
            </a:stretch>
          </a:blipFill>
        </p:spPr>
        <p:txBody>
          <a:bodyPr wrap="square" lIns="0" tIns="0" rIns="0" bIns="0" rtlCol="0"/>
          <a:lstStyle/>
          <a:p>
            <a:endParaRPr/>
          </a:p>
        </p:txBody>
      </p:sp>
      <p:sp>
        <p:nvSpPr>
          <p:cNvPr id="11" name="object 11"/>
          <p:cNvSpPr/>
          <p:nvPr/>
        </p:nvSpPr>
        <p:spPr>
          <a:xfrm>
            <a:off x="581888" y="2492501"/>
            <a:ext cx="692785" cy="550545"/>
          </a:xfrm>
          <a:custGeom>
            <a:avLst/>
            <a:gdLst/>
            <a:ahLst/>
            <a:cxnLst/>
            <a:rect l="l" t="t" r="r" b="b"/>
            <a:pathLst>
              <a:path w="692785" h="550544">
                <a:moveTo>
                  <a:pt x="0" y="275336"/>
                </a:moveTo>
                <a:lnTo>
                  <a:pt x="3755" y="234630"/>
                </a:lnTo>
                <a:lnTo>
                  <a:pt x="14665" y="195785"/>
                </a:lnTo>
                <a:lnTo>
                  <a:pt x="32193" y="159225"/>
                </a:lnTo>
                <a:lnTo>
                  <a:pt x="55803" y="125376"/>
                </a:lnTo>
                <a:lnTo>
                  <a:pt x="84959" y="94662"/>
                </a:lnTo>
                <a:lnTo>
                  <a:pt x="119127" y="67507"/>
                </a:lnTo>
                <a:lnTo>
                  <a:pt x="157769" y="44337"/>
                </a:lnTo>
                <a:lnTo>
                  <a:pt x="200350" y="25577"/>
                </a:lnTo>
                <a:lnTo>
                  <a:pt x="246333" y="11650"/>
                </a:lnTo>
                <a:lnTo>
                  <a:pt x="295184" y="2983"/>
                </a:lnTo>
                <a:lnTo>
                  <a:pt x="346367" y="0"/>
                </a:lnTo>
                <a:lnTo>
                  <a:pt x="397548" y="2983"/>
                </a:lnTo>
                <a:lnTo>
                  <a:pt x="446395" y="11650"/>
                </a:lnTo>
                <a:lnTo>
                  <a:pt x="492374" y="25577"/>
                </a:lnTo>
                <a:lnTo>
                  <a:pt x="534949" y="44337"/>
                </a:lnTo>
                <a:lnTo>
                  <a:pt x="573585" y="67507"/>
                </a:lnTo>
                <a:lnTo>
                  <a:pt x="607745" y="94662"/>
                </a:lnTo>
                <a:lnTo>
                  <a:pt x="636895" y="125376"/>
                </a:lnTo>
                <a:lnTo>
                  <a:pt x="660499" y="159225"/>
                </a:lnTo>
                <a:lnTo>
                  <a:pt x="678022" y="195785"/>
                </a:lnTo>
                <a:lnTo>
                  <a:pt x="688928" y="234630"/>
                </a:lnTo>
                <a:lnTo>
                  <a:pt x="692683" y="275336"/>
                </a:lnTo>
                <a:lnTo>
                  <a:pt x="688928" y="316010"/>
                </a:lnTo>
                <a:lnTo>
                  <a:pt x="678022" y="354829"/>
                </a:lnTo>
                <a:lnTo>
                  <a:pt x="660499" y="391368"/>
                </a:lnTo>
                <a:lnTo>
                  <a:pt x="636895" y="425201"/>
                </a:lnTo>
                <a:lnTo>
                  <a:pt x="607745" y="455903"/>
                </a:lnTo>
                <a:lnTo>
                  <a:pt x="573585" y="483049"/>
                </a:lnTo>
                <a:lnTo>
                  <a:pt x="534949" y="506213"/>
                </a:lnTo>
                <a:lnTo>
                  <a:pt x="492374" y="524970"/>
                </a:lnTo>
                <a:lnTo>
                  <a:pt x="446395" y="538894"/>
                </a:lnTo>
                <a:lnTo>
                  <a:pt x="397548" y="547561"/>
                </a:lnTo>
                <a:lnTo>
                  <a:pt x="346367" y="550545"/>
                </a:lnTo>
                <a:lnTo>
                  <a:pt x="295184" y="547561"/>
                </a:lnTo>
                <a:lnTo>
                  <a:pt x="246333" y="538894"/>
                </a:lnTo>
                <a:lnTo>
                  <a:pt x="200350" y="524970"/>
                </a:lnTo>
                <a:lnTo>
                  <a:pt x="157769" y="506213"/>
                </a:lnTo>
                <a:lnTo>
                  <a:pt x="119127" y="483049"/>
                </a:lnTo>
                <a:lnTo>
                  <a:pt x="84959" y="455903"/>
                </a:lnTo>
                <a:lnTo>
                  <a:pt x="55803" y="425201"/>
                </a:lnTo>
                <a:lnTo>
                  <a:pt x="32193" y="391368"/>
                </a:lnTo>
                <a:lnTo>
                  <a:pt x="14665" y="354829"/>
                </a:lnTo>
                <a:lnTo>
                  <a:pt x="3755" y="316010"/>
                </a:lnTo>
                <a:lnTo>
                  <a:pt x="0" y="275336"/>
                </a:lnTo>
                <a:close/>
              </a:path>
            </a:pathLst>
          </a:custGeom>
          <a:ln w="12700">
            <a:solidFill>
              <a:srgbClr val="FFFF00"/>
            </a:solidFill>
          </a:ln>
        </p:spPr>
        <p:txBody>
          <a:bodyPr wrap="square" lIns="0" tIns="0" rIns="0" bIns="0" rtlCol="0"/>
          <a:lstStyle/>
          <a:p>
            <a:endParaRPr/>
          </a:p>
        </p:txBody>
      </p:sp>
      <p:sp>
        <p:nvSpPr>
          <p:cNvPr id="12" name="object 12"/>
          <p:cNvSpPr txBox="1"/>
          <p:nvPr/>
        </p:nvSpPr>
        <p:spPr>
          <a:xfrm>
            <a:off x="664870" y="2517775"/>
            <a:ext cx="527685" cy="499745"/>
          </a:xfrm>
          <a:prstGeom prst="rect">
            <a:avLst/>
          </a:prstGeom>
        </p:spPr>
        <p:txBody>
          <a:bodyPr vert="horz" wrap="square" lIns="0" tIns="0" rIns="0" bIns="0" rtlCol="0">
            <a:spAutoFit/>
          </a:bodyPr>
          <a:lstStyle/>
          <a:p>
            <a:pPr marL="43180">
              <a:lnSpc>
                <a:spcPct val="100000"/>
              </a:lnSpc>
            </a:pPr>
            <a:r>
              <a:rPr sz="1600" b="1" spc="-5" dirty="0">
                <a:latin typeface="Times New Roman"/>
                <a:cs typeface="Times New Roman"/>
              </a:rPr>
              <a:t>Sales</a:t>
            </a:r>
            <a:endParaRPr sz="1600">
              <a:latin typeface="Times New Roman"/>
              <a:cs typeface="Times New Roman"/>
            </a:endParaRPr>
          </a:p>
          <a:p>
            <a:pPr marL="12700">
              <a:lnSpc>
                <a:spcPct val="100000"/>
              </a:lnSpc>
            </a:pPr>
            <a:r>
              <a:rPr sz="1600" b="1" spc="-5" dirty="0">
                <a:latin typeface="Times New Roman"/>
                <a:cs typeface="Times New Roman"/>
              </a:rPr>
              <a:t>Org</a:t>
            </a:r>
            <a:r>
              <a:rPr sz="1600" b="1" spc="-90" dirty="0">
                <a:latin typeface="Times New Roman"/>
                <a:cs typeface="Times New Roman"/>
              </a:rPr>
              <a:t> </a:t>
            </a:r>
            <a:r>
              <a:rPr sz="1600" b="1" spc="-5" dirty="0">
                <a:latin typeface="Times New Roman"/>
                <a:cs typeface="Times New Roman"/>
              </a:rPr>
              <a:t>1</a:t>
            </a:r>
            <a:endParaRPr sz="1600">
              <a:latin typeface="Times New Roman"/>
              <a:cs typeface="Times New Roman"/>
            </a:endParaRPr>
          </a:p>
        </p:txBody>
      </p:sp>
      <p:sp>
        <p:nvSpPr>
          <p:cNvPr id="13" name="object 13"/>
          <p:cNvSpPr/>
          <p:nvPr/>
        </p:nvSpPr>
        <p:spPr>
          <a:xfrm>
            <a:off x="1629664" y="2501138"/>
            <a:ext cx="692658" cy="550545"/>
          </a:xfrm>
          <a:prstGeom prst="rect">
            <a:avLst/>
          </a:prstGeom>
          <a:blipFill>
            <a:blip r:embed="rId5" cstate="print"/>
            <a:stretch>
              <a:fillRect/>
            </a:stretch>
          </a:blipFill>
        </p:spPr>
        <p:txBody>
          <a:bodyPr wrap="square" lIns="0" tIns="0" rIns="0" bIns="0" rtlCol="0"/>
          <a:lstStyle/>
          <a:p>
            <a:endParaRPr/>
          </a:p>
        </p:txBody>
      </p:sp>
      <p:sp>
        <p:nvSpPr>
          <p:cNvPr id="14" name="object 14"/>
          <p:cNvSpPr/>
          <p:nvPr/>
        </p:nvSpPr>
        <p:spPr>
          <a:xfrm>
            <a:off x="1629664" y="2501138"/>
            <a:ext cx="692785" cy="550545"/>
          </a:xfrm>
          <a:custGeom>
            <a:avLst/>
            <a:gdLst/>
            <a:ahLst/>
            <a:cxnLst/>
            <a:rect l="l" t="t" r="r" b="b"/>
            <a:pathLst>
              <a:path w="692785" h="550544">
                <a:moveTo>
                  <a:pt x="0" y="275209"/>
                </a:moveTo>
                <a:lnTo>
                  <a:pt x="3755" y="234534"/>
                </a:lnTo>
                <a:lnTo>
                  <a:pt x="14664" y="195715"/>
                </a:lnTo>
                <a:lnTo>
                  <a:pt x="32190" y="159176"/>
                </a:lnTo>
                <a:lnTo>
                  <a:pt x="55798" y="125343"/>
                </a:lnTo>
                <a:lnTo>
                  <a:pt x="84952" y="94641"/>
                </a:lnTo>
                <a:lnTo>
                  <a:pt x="119115" y="67495"/>
                </a:lnTo>
                <a:lnTo>
                  <a:pt x="157753" y="44331"/>
                </a:lnTo>
                <a:lnTo>
                  <a:pt x="200329" y="25574"/>
                </a:lnTo>
                <a:lnTo>
                  <a:pt x="246308" y="11650"/>
                </a:lnTo>
                <a:lnTo>
                  <a:pt x="295153" y="2983"/>
                </a:lnTo>
                <a:lnTo>
                  <a:pt x="346329" y="0"/>
                </a:lnTo>
                <a:lnTo>
                  <a:pt x="397504" y="2983"/>
                </a:lnTo>
                <a:lnTo>
                  <a:pt x="446349" y="11650"/>
                </a:lnTo>
                <a:lnTo>
                  <a:pt x="492328" y="25574"/>
                </a:lnTo>
                <a:lnTo>
                  <a:pt x="534904" y="44331"/>
                </a:lnTo>
                <a:lnTo>
                  <a:pt x="573542" y="67495"/>
                </a:lnTo>
                <a:lnTo>
                  <a:pt x="607705" y="94641"/>
                </a:lnTo>
                <a:lnTo>
                  <a:pt x="636859" y="125343"/>
                </a:lnTo>
                <a:lnTo>
                  <a:pt x="660467" y="159176"/>
                </a:lnTo>
                <a:lnTo>
                  <a:pt x="677993" y="195715"/>
                </a:lnTo>
                <a:lnTo>
                  <a:pt x="688902" y="234534"/>
                </a:lnTo>
                <a:lnTo>
                  <a:pt x="692658" y="275209"/>
                </a:lnTo>
                <a:lnTo>
                  <a:pt x="688902" y="315914"/>
                </a:lnTo>
                <a:lnTo>
                  <a:pt x="677993" y="354759"/>
                </a:lnTo>
                <a:lnTo>
                  <a:pt x="660467" y="391319"/>
                </a:lnTo>
                <a:lnTo>
                  <a:pt x="636859" y="425168"/>
                </a:lnTo>
                <a:lnTo>
                  <a:pt x="607705" y="455882"/>
                </a:lnTo>
                <a:lnTo>
                  <a:pt x="573542" y="483037"/>
                </a:lnTo>
                <a:lnTo>
                  <a:pt x="534904" y="506207"/>
                </a:lnTo>
                <a:lnTo>
                  <a:pt x="492328" y="524967"/>
                </a:lnTo>
                <a:lnTo>
                  <a:pt x="446349" y="538894"/>
                </a:lnTo>
                <a:lnTo>
                  <a:pt x="397504" y="547561"/>
                </a:lnTo>
                <a:lnTo>
                  <a:pt x="346329" y="550545"/>
                </a:lnTo>
                <a:lnTo>
                  <a:pt x="295153" y="547561"/>
                </a:lnTo>
                <a:lnTo>
                  <a:pt x="246308" y="538894"/>
                </a:lnTo>
                <a:lnTo>
                  <a:pt x="200329" y="524967"/>
                </a:lnTo>
                <a:lnTo>
                  <a:pt x="157753" y="506207"/>
                </a:lnTo>
                <a:lnTo>
                  <a:pt x="119115" y="483037"/>
                </a:lnTo>
                <a:lnTo>
                  <a:pt x="84952" y="455882"/>
                </a:lnTo>
                <a:lnTo>
                  <a:pt x="55798" y="425168"/>
                </a:lnTo>
                <a:lnTo>
                  <a:pt x="32190" y="391319"/>
                </a:lnTo>
                <a:lnTo>
                  <a:pt x="14664" y="354759"/>
                </a:lnTo>
                <a:lnTo>
                  <a:pt x="3755" y="315914"/>
                </a:lnTo>
                <a:lnTo>
                  <a:pt x="0" y="275209"/>
                </a:lnTo>
                <a:close/>
              </a:path>
            </a:pathLst>
          </a:custGeom>
          <a:ln w="12700">
            <a:solidFill>
              <a:srgbClr val="FFFF00"/>
            </a:solidFill>
          </a:ln>
        </p:spPr>
        <p:txBody>
          <a:bodyPr wrap="square" lIns="0" tIns="0" rIns="0" bIns="0" rtlCol="0"/>
          <a:lstStyle/>
          <a:p>
            <a:endParaRPr/>
          </a:p>
        </p:txBody>
      </p:sp>
      <p:sp>
        <p:nvSpPr>
          <p:cNvPr id="15" name="object 15"/>
          <p:cNvSpPr txBox="1"/>
          <p:nvPr/>
        </p:nvSpPr>
        <p:spPr>
          <a:xfrm>
            <a:off x="1712722" y="2526538"/>
            <a:ext cx="527685" cy="499745"/>
          </a:xfrm>
          <a:prstGeom prst="rect">
            <a:avLst/>
          </a:prstGeom>
        </p:spPr>
        <p:txBody>
          <a:bodyPr vert="horz" wrap="square" lIns="0" tIns="0" rIns="0" bIns="0" rtlCol="0">
            <a:spAutoFit/>
          </a:bodyPr>
          <a:lstStyle/>
          <a:p>
            <a:pPr marL="12700" marR="5080" indent="30480">
              <a:lnSpc>
                <a:spcPct val="100000"/>
              </a:lnSpc>
            </a:pPr>
            <a:r>
              <a:rPr sz="1600" b="1" spc="-5" dirty="0">
                <a:latin typeface="Times New Roman"/>
                <a:cs typeface="Times New Roman"/>
              </a:rPr>
              <a:t>Sales  </a:t>
            </a:r>
            <a:r>
              <a:rPr sz="1600" b="1" spc="-10" dirty="0">
                <a:latin typeface="Times New Roman"/>
                <a:cs typeface="Times New Roman"/>
              </a:rPr>
              <a:t>Org</a:t>
            </a:r>
            <a:r>
              <a:rPr sz="1600" b="1" spc="-75" dirty="0">
                <a:latin typeface="Times New Roman"/>
                <a:cs typeface="Times New Roman"/>
              </a:rPr>
              <a:t> </a:t>
            </a:r>
            <a:r>
              <a:rPr sz="1600" b="1" spc="-5" dirty="0">
                <a:latin typeface="Times New Roman"/>
                <a:cs typeface="Times New Roman"/>
              </a:rPr>
              <a:t>2</a:t>
            </a:r>
            <a:endParaRPr sz="1600">
              <a:latin typeface="Times New Roman"/>
              <a:cs typeface="Times New Roman"/>
            </a:endParaRPr>
          </a:p>
        </p:txBody>
      </p:sp>
      <p:sp>
        <p:nvSpPr>
          <p:cNvPr id="16" name="object 16"/>
          <p:cNvSpPr/>
          <p:nvPr/>
        </p:nvSpPr>
        <p:spPr>
          <a:xfrm>
            <a:off x="928255" y="2044700"/>
            <a:ext cx="362585" cy="426720"/>
          </a:xfrm>
          <a:custGeom>
            <a:avLst/>
            <a:gdLst/>
            <a:ahLst/>
            <a:cxnLst/>
            <a:rect l="l" t="t" r="r" b="b"/>
            <a:pathLst>
              <a:path w="362584" h="426719">
                <a:moveTo>
                  <a:pt x="32131" y="291591"/>
                </a:moveTo>
                <a:lnTo>
                  <a:pt x="0" y="426212"/>
                </a:lnTo>
                <a:lnTo>
                  <a:pt x="127012" y="371221"/>
                </a:lnTo>
                <a:lnTo>
                  <a:pt x="114149" y="360425"/>
                </a:lnTo>
                <a:lnTo>
                  <a:pt x="82118" y="360425"/>
                </a:lnTo>
                <a:lnTo>
                  <a:pt x="50495" y="334010"/>
                </a:lnTo>
                <a:lnTo>
                  <a:pt x="63786" y="318158"/>
                </a:lnTo>
                <a:lnTo>
                  <a:pt x="32131" y="291591"/>
                </a:lnTo>
                <a:close/>
              </a:path>
              <a:path w="362584" h="426719">
                <a:moveTo>
                  <a:pt x="63786" y="318158"/>
                </a:moveTo>
                <a:lnTo>
                  <a:pt x="50495" y="334010"/>
                </a:lnTo>
                <a:lnTo>
                  <a:pt x="82118" y="360425"/>
                </a:lnTo>
                <a:lnTo>
                  <a:pt x="95351" y="344649"/>
                </a:lnTo>
                <a:lnTo>
                  <a:pt x="63786" y="318158"/>
                </a:lnTo>
                <a:close/>
              </a:path>
              <a:path w="362584" h="426719">
                <a:moveTo>
                  <a:pt x="95351" y="344649"/>
                </a:moveTo>
                <a:lnTo>
                  <a:pt x="82118" y="360425"/>
                </a:lnTo>
                <a:lnTo>
                  <a:pt x="114149" y="360425"/>
                </a:lnTo>
                <a:lnTo>
                  <a:pt x="95351" y="344649"/>
                </a:lnTo>
                <a:close/>
              </a:path>
              <a:path w="362584" h="426719">
                <a:moveTo>
                  <a:pt x="330555" y="0"/>
                </a:moveTo>
                <a:lnTo>
                  <a:pt x="63786" y="318158"/>
                </a:lnTo>
                <a:lnTo>
                  <a:pt x="95351" y="344649"/>
                </a:lnTo>
                <a:lnTo>
                  <a:pt x="362191" y="26542"/>
                </a:lnTo>
                <a:lnTo>
                  <a:pt x="330555" y="0"/>
                </a:lnTo>
                <a:close/>
              </a:path>
            </a:pathLst>
          </a:custGeom>
          <a:solidFill>
            <a:srgbClr val="000080"/>
          </a:solidFill>
        </p:spPr>
        <p:txBody>
          <a:bodyPr wrap="square" lIns="0" tIns="0" rIns="0" bIns="0" rtlCol="0"/>
          <a:lstStyle/>
          <a:p>
            <a:endParaRPr/>
          </a:p>
        </p:txBody>
      </p:sp>
      <p:sp>
        <p:nvSpPr>
          <p:cNvPr id="17" name="object 17"/>
          <p:cNvSpPr/>
          <p:nvPr/>
        </p:nvSpPr>
        <p:spPr>
          <a:xfrm>
            <a:off x="1592199" y="2031873"/>
            <a:ext cx="362585" cy="426720"/>
          </a:xfrm>
          <a:custGeom>
            <a:avLst/>
            <a:gdLst/>
            <a:ahLst/>
            <a:cxnLst/>
            <a:rect l="l" t="t" r="r" b="b"/>
            <a:pathLst>
              <a:path w="362585" h="426719">
                <a:moveTo>
                  <a:pt x="266785" y="344628"/>
                </a:moveTo>
                <a:lnTo>
                  <a:pt x="235203" y="371093"/>
                </a:lnTo>
                <a:lnTo>
                  <a:pt x="362203" y="426212"/>
                </a:lnTo>
                <a:lnTo>
                  <a:pt x="346502" y="360425"/>
                </a:lnTo>
                <a:lnTo>
                  <a:pt x="280034" y="360425"/>
                </a:lnTo>
                <a:lnTo>
                  <a:pt x="266785" y="344628"/>
                </a:lnTo>
                <a:close/>
              </a:path>
              <a:path w="362585" h="426719">
                <a:moveTo>
                  <a:pt x="298429" y="318110"/>
                </a:moveTo>
                <a:lnTo>
                  <a:pt x="266785" y="344628"/>
                </a:lnTo>
                <a:lnTo>
                  <a:pt x="280034" y="360425"/>
                </a:lnTo>
                <a:lnTo>
                  <a:pt x="311657" y="333882"/>
                </a:lnTo>
                <a:lnTo>
                  <a:pt x="298429" y="318110"/>
                </a:lnTo>
                <a:close/>
              </a:path>
              <a:path w="362585" h="426719">
                <a:moveTo>
                  <a:pt x="330073" y="291591"/>
                </a:moveTo>
                <a:lnTo>
                  <a:pt x="298429" y="318110"/>
                </a:lnTo>
                <a:lnTo>
                  <a:pt x="311657" y="333882"/>
                </a:lnTo>
                <a:lnTo>
                  <a:pt x="280034" y="360425"/>
                </a:lnTo>
                <a:lnTo>
                  <a:pt x="346502" y="360425"/>
                </a:lnTo>
                <a:lnTo>
                  <a:pt x="330073" y="291591"/>
                </a:lnTo>
                <a:close/>
              </a:path>
              <a:path w="362585" h="426719">
                <a:moveTo>
                  <a:pt x="31622" y="0"/>
                </a:moveTo>
                <a:lnTo>
                  <a:pt x="0" y="26542"/>
                </a:lnTo>
                <a:lnTo>
                  <a:pt x="266785" y="344628"/>
                </a:lnTo>
                <a:lnTo>
                  <a:pt x="298429" y="318110"/>
                </a:lnTo>
                <a:lnTo>
                  <a:pt x="31622" y="0"/>
                </a:lnTo>
                <a:close/>
              </a:path>
            </a:pathLst>
          </a:custGeom>
          <a:solidFill>
            <a:srgbClr val="000080"/>
          </a:solidFill>
        </p:spPr>
        <p:txBody>
          <a:bodyPr wrap="square" lIns="0" tIns="0" rIns="0" bIns="0" rtlCol="0"/>
          <a:lstStyle/>
          <a:p>
            <a:endParaRPr/>
          </a:p>
        </p:txBody>
      </p:sp>
      <p:sp>
        <p:nvSpPr>
          <p:cNvPr id="18" name="object 18"/>
          <p:cNvSpPr/>
          <p:nvPr/>
        </p:nvSpPr>
        <p:spPr>
          <a:xfrm>
            <a:off x="3048000" y="1143000"/>
            <a:ext cx="2362200" cy="2209800"/>
          </a:xfrm>
          <a:custGeom>
            <a:avLst/>
            <a:gdLst/>
            <a:ahLst/>
            <a:cxnLst/>
            <a:rect l="l" t="t" r="r" b="b"/>
            <a:pathLst>
              <a:path w="2362200" h="2209800">
                <a:moveTo>
                  <a:pt x="1181100" y="0"/>
                </a:moveTo>
                <a:lnTo>
                  <a:pt x="1131175" y="969"/>
                </a:lnTo>
                <a:lnTo>
                  <a:pt x="1081779" y="3851"/>
                </a:lnTo>
                <a:lnTo>
                  <a:pt x="1032951" y="8608"/>
                </a:lnTo>
                <a:lnTo>
                  <a:pt x="984733" y="15201"/>
                </a:lnTo>
                <a:lnTo>
                  <a:pt x="937167" y="23592"/>
                </a:lnTo>
                <a:lnTo>
                  <a:pt x="890292" y="33743"/>
                </a:lnTo>
                <a:lnTo>
                  <a:pt x="844151" y="45615"/>
                </a:lnTo>
                <a:lnTo>
                  <a:pt x="798783" y="59170"/>
                </a:lnTo>
                <a:lnTo>
                  <a:pt x="754230" y="74370"/>
                </a:lnTo>
                <a:lnTo>
                  <a:pt x="710534" y="91176"/>
                </a:lnTo>
                <a:lnTo>
                  <a:pt x="667734" y="109550"/>
                </a:lnTo>
                <a:lnTo>
                  <a:pt x="625872" y="129453"/>
                </a:lnTo>
                <a:lnTo>
                  <a:pt x="584990" y="150847"/>
                </a:lnTo>
                <a:lnTo>
                  <a:pt x="545127" y="173695"/>
                </a:lnTo>
                <a:lnTo>
                  <a:pt x="506325" y="197956"/>
                </a:lnTo>
                <a:lnTo>
                  <a:pt x="468626" y="223595"/>
                </a:lnTo>
                <a:lnTo>
                  <a:pt x="432069" y="250570"/>
                </a:lnTo>
                <a:lnTo>
                  <a:pt x="396697" y="278846"/>
                </a:lnTo>
                <a:lnTo>
                  <a:pt x="362549" y="308382"/>
                </a:lnTo>
                <a:lnTo>
                  <a:pt x="329668" y="339141"/>
                </a:lnTo>
                <a:lnTo>
                  <a:pt x="298093" y="371085"/>
                </a:lnTo>
                <a:lnTo>
                  <a:pt x="267867" y="404175"/>
                </a:lnTo>
                <a:lnTo>
                  <a:pt x="239029" y="438373"/>
                </a:lnTo>
                <a:lnTo>
                  <a:pt x="211622" y="473640"/>
                </a:lnTo>
                <a:lnTo>
                  <a:pt x="185686" y="509938"/>
                </a:lnTo>
                <a:lnTo>
                  <a:pt x="161261" y="547228"/>
                </a:lnTo>
                <a:lnTo>
                  <a:pt x="138390" y="585474"/>
                </a:lnTo>
                <a:lnTo>
                  <a:pt x="117113" y="624635"/>
                </a:lnTo>
                <a:lnTo>
                  <a:pt x="97471" y="664674"/>
                </a:lnTo>
                <a:lnTo>
                  <a:pt x="79505" y="705552"/>
                </a:lnTo>
                <a:lnTo>
                  <a:pt x="63256" y="747231"/>
                </a:lnTo>
                <a:lnTo>
                  <a:pt x="48765" y="789673"/>
                </a:lnTo>
                <a:lnTo>
                  <a:pt x="36073" y="832839"/>
                </a:lnTo>
                <a:lnTo>
                  <a:pt x="25222" y="876691"/>
                </a:lnTo>
                <a:lnTo>
                  <a:pt x="16251" y="921191"/>
                </a:lnTo>
                <a:lnTo>
                  <a:pt x="9202" y="966300"/>
                </a:lnTo>
                <a:lnTo>
                  <a:pt x="4117" y="1011980"/>
                </a:lnTo>
                <a:lnTo>
                  <a:pt x="1036" y="1058193"/>
                </a:lnTo>
                <a:lnTo>
                  <a:pt x="0" y="1104900"/>
                </a:lnTo>
                <a:lnTo>
                  <a:pt x="1036" y="1151606"/>
                </a:lnTo>
                <a:lnTo>
                  <a:pt x="4117" y="1197819"/>
                </a:lnTo>
                <a:lnTo>
                  <a:pt x="9202" y="1243499"/>
                </a:lnTo>
                <a:lnTo>
                  <a:pt x="16251" y="1288608"/>
                </a:lnTo>
                <a:lnTo>
                  <a:pt x="25222" y="1333108"/>
                </a:lnTo>
                <a:lnTo>
                  <a:pt x="36073" y="1376960"/>
                </a:lnTo>
                <a:lnTo>
                  <a:pt x="48765" y="1420126"/>
                </a:lnTo>
                <a:lnTo>
                  <a:pt x="63256" y="1462568"/>
                </a:lnTo>
                <a:lnTo>
                  <a:pt x="79505" y="1504247"/>
                </a:lnTo>
                <a:lnTo>
                  <a:pt x="97471" y="1545125"/>
                </a:lnTo>
                <a:lnTo>
                  <a:pt x="117113" y="1585164"/>
                </a:lnTo>
                <a:lnTo>
                  <a:pt x="138390" y="1624325"/>
                </a:lnTo>
                <a:lnTo>
                  <a:pt x="161261" y="1662571"/>
                </a:lnTo>
                <a:lnTo>
                  <a:pt x="185686" y="1699861"/>
                </a:lnTo>
                <a:lnTo>
                  <a:pt x="211622" y="1736159"/>
                </a:lnTo>
                <a:lnTo>
                  <a:pt x="239029" y="1771426"/>
                </a:lnTo>
                <a:lnTo>
                  <a:pt x="267867" y="1805624"/>
                </a:lnTo>
                <a:lnTo>
                  <a:pt x="298093" y="1838714"/>
                </a:lnTo>
                <a:lnTo>
                  <a:pt x="329668" y="1870658"/>
                </a:lnTo>
                <a:lnTo>
                  <a:pt x="362549" y="1901417"/>
                </a:lnTo>
                <a:lnTo>
                  <a:pt x="396697" y="1930953"/>
                </a:lnTo>
                <a:lnTo>
                  <a:pt x="432069" y="1959229"/>
                </a:lnTo>
                <a:lnTo>
                  <a:pt x="468626" y="1986204"/>
                </a:lnTo>
                <a:lnTo>
                  <a:pt x="506325" y="2011843"/>
                </a:lnTo>
                <a:lnTo>
                  <a:pt x="545127" y="2036104"/>
                </a:lnTo>
                <a:lnTo>
                  <a:pt x="584990" y="2058952"/>
                </a:lnTo>
                <a:lnTo>
                  <a:pt x="625872" y="2080346"/>
                </a:lnTo>
                <a:lnTo>
                  <a:pt x="667734" y="2100249"/>
                </a:lnTo>
                <a:lnTo>
                  <a:pt x="710534" y="2118623"/>
                </a:lnTo>
                <a:lnTo>
                  <a:pt x="754230" y="2135429"/>
                </a:lnTo>
                <a:lnTo>
                  <a:pt x="798783" y="2150629"/>
                </a:lnTo>
                <a:lnTo>
                  <a:pt x="844151" y="2164184"/>
                </a:lnTo>
                <a:lnTo>
                  <a:pt x="890292" y="2176056"/>
                </a:lnTo>
                <a:lnTo>
                  <a:pt x="937167" y="2186207"/>
                </a:lnTo>
                <a:lnTo>
                  <a:pt x="984733" y="2194598"/>
                </a:lnTo>
                <a:lnTo>
                  <a:pt x="1032951" y="2201191"/>
                </a:lnTo>
                <a:lnTo>
                  <a:pt x="1081779" y="2205948"/>
                </a:lnTo>
                <a:lnTo>
                  <a:pt x="1131175" y="2208830"/>
                </a:lnTo>
                <a:lnTo>
                  <a:pt x="1181100" y="2209800"/>
                </a:lnTo>
                <a:lnTo>
                  <a:pt x="1231024" y="2208830"/>
                </a:lnTo>
                <a:lnTo>
                  <a:pt x="1280420" y="2205948"/>
                </a:lnTo>
                <a:lnTo>
                  <a:pt x="1329248" y="2201191"/>
                </a:lnTo>
                <a:lnTo>
                  <a:pt x="1377466" y="2194598"/>
                </a:lnTo>
                <a:lnTo>
                  <a:pt x="1425032" y="2186207"/>
                </a:lnTo>
                <a:lnTo>
                  <a:pt x="1471907" y="2176056"/>
                </a:lnTo>
                <a:lnTo>
                  <a:pt x="1518048" y="2164184"/>
                </a:lnTo>
                <a:lnTo>
                  <a:pt x="1563416" y="2150629"/>
                </a:lnTo>
                <a:lnTo>
                  <a:pt x="1607969" y="2135429"/>
                </a:lnTo>
                <a:lnTo>
                  <a:pt x="1651665" y="2118623"/>
                </a:lnTo>
                <a:lnTo>
                  <a:pt x="1694465" y="2100249"/>
                </a:lnTo>
                <a:lnTo>
                  <a:pt x="1736327" y="2080346"/>
                </a:lnTo>
                <a:lnTo>
                  <a:pt x="1777209" y="2058952"/>
                </a:lnTo>
                <a:lnTo>
                  <a:pt x="1817072" y="2036104"/>
                </a:lnTo>
                <a:lnTo>
                  <a:pt x="1855874" y="2011843"/>
                </a:lnTo>
                <a:lnTo>
                  <a:pt x="1893573" y="1986204"/>
                </a:lnTo>
                <a:lnTo>
                  <a:pt x="1930130" y="1959229"/>
                </a:lnTo>
                <a:lnTo>
                  <a:pt x="1965502" y="1930953"/>
                </a:lnTo>
                <a:lnTo>
                  <a:pt x="1999650" y="1901417"/>
                </a:lnTo>
                <a:lnTo>
                  <a:pt x="2032531" y="1870658"/>
                </a:lnTo>
                <a:lnTo>
                  <a:pt x="2064106" y="1838714"/>
                </a:lnTo>
                <a:lnTo>
                  <a:pt x="2094332" y="1805624"/>
                </a:lnTo>
                <a:lnTo>
                  <a:pt x="2123170" y="1771426"/>
                </a:lnTo>
                <a:lnTo>
                  <a:pt x="2150577" y="1736159"/>
                </a:lnTo>
                <a:lnTo>
                  <a:pt x="2176513" y="1699861"/>
                </a:lnTo>
                <a:lnTo>
                  <a:pt x="2200938" y="1662571"/>
                </a:lnTo>
                <a:lnTo>
                  <a:pt x="2223809" y="1624325"/>
                </a:lnTo>
                <a:lnTo>
                  <a:pt x="2245086" y="1585164"/>
                </a:lnTo>
                <a:lnTo>
                  <a:pt x="2264728" y="1545125"/>
                </a:lnTo>
                <a:lnTo>
                  <a:pt x="2282694" y="1504247"/>
                </a:lnTo>
                <a:lnTo>
                  <a:pt x="2298943" y="1462568"/>
                </a:lnTo>
                <a:lnTo>
                  <a:pt x="2313434" y="1420126"/>
                </a:lnTo>
                <a:lnTo>
                  <a:pt x="2326126" y="1376960"/>
                </a:lnTo>
                <a:lnTo>
                  <a:pt x="2336977" y="1333108"/>
                </a:lnTo>
                <a:lnTo>
                  <a:pt x="2345948" y="1288608"/>
                </a:lnTo>
                <a:lnTo>
                  <a:pt x="2352997" y="1243499"/>
                </a:lnTo>
                <a:lnTo>
                  <a:pt x="2358082" y="1197819"/>
                </a:lnTo>
                <a:lnTo>
                  <a:pt x="2361163" y="1151606"/>
                </a:lnTo>
                <a:lnTo>
                  <a:pt x="2362200" y="1104900"/>
                </a:lnTo>
                <a:lnTo>
                  <a:pt x="2361163" y="1058193"/>
                </a:lnTo>
                <a:lnTo>
                  <a:pt x="2358082" y="1011980"/>
                </a:lnTo>
                <a:lnTo>
                  <a:pt x="2352997" y="966300"/>
                </a:lnTo>
                <a:lnTo>
                  <a:pt x="2345948" y="921191"/>
                </a:lnTo>
                <a:lnTo>
                  <a:pt x="2336977" y="876691"/>
                </a:lnTo>
                <a:lnTo>
                  <a:pt x="2326126" y="832839"/>
                </a:lnTo>
                <a:lnTo>
                  <a:pt x="2313434" y="789673"/>
                </a:lnTo>
                <a:lnTo>
                  <a:pt x="2298943" y="747231"/>
                </a:lnTo>
                <a:lnTo>
                  <a:pt x="2282694" y="705552"/>
                </a:lnTo>
                <a:lnTo>
                  <a:pt x="2264728" y="664674"/>
                </a:lnTo>
                <a:lnTo>
                  <a:pt x="2245086" y="624635"/>
                </a:lnTo>
                <a:lnTo>
                  <a:pt x="2223809" y="585474"/>
                </a:lnTo>
                <a:lnTo>
                  <a:pt x="2200938" y="547228"/>
                </a:lnTo>
                <a:lnTo>
                  <a:pt x="2176513" y="509938"/>
                </a:lnTo>
                <a:lnTo>
                  <a:pt x="2150577" y="473640"/>
                </a:lnTo>
                <a:lnTo>
                  <a:pt x="2123170" y="438373"/>
                </a:lnTo>
                <a:lnTo>
                  <a:pt x="2094332" y="404175"/>
                </a:lnTo>
                <a:lnTo>
                  <a:pt x="2064106" y="371085"/>
                </a:lnTo>
                <a:lnTo>
                  <a:pt x="2032531" y="339141"/>
                </a:lnTo>
                <a:lnTo>
                  <a:pt x="1999650" y="308382"/>
                </a:lnTo>
                <a:lnTo>
                  <a:pt x="1965502" y="278846"/>
                </a:lnTo>
                <a:lnTo>
                  <a:pt x="1930130" y="250570"/>
                </a:lnTo>
                <a:lnTo>
                  <a:pt x="1893573" y="223595"/>
                </a:lnTo>
                <a:lnTo>
                  <a:pt x="1855874" y="197956"/>
                </a:lnTo>
                <a:lnTo>
                  <a:pt x="1817072" y="173695"/>
                </a:lnTo>
                <a:lnTo>
                  <a:pt x="1777209" y="150847"/>
                </a:lnTo>
                <a:lnTo>
                  <a:pt x="1736327" y="129453"/>
                </a:lnTo>
                <a:lnTo>
                  <a:pt x="1694465" y="109550"/>
                </a:lnTo>
                <a:lnTo>
                  <a:pt x="1651665" y="91176"/>
                </a:lnTo>
                <a:lnTo>
                  <a:pt x="1607969" y="74370"/>
                </a:lnTo>
                <a:lnTo>
                  <a:pt x="1563416" y="59170"/>
                </a:lnTo>
                <a:lnTo>
                  <a:pt x="1518048" y="45615"/>
                </a:lnTo>
                <a:lnTo>
                  <a:pt x="1471907" y="33743"/>
                </a:lnTo>
                <a:lnTo>
                  <a:pt x="1425032" y="23592"/>
                </a:lnTo>
                <a:lnTo>
                  <a:pt x="1377466" y="15201"/>
                </a:lnTo>
                <a:lnTo>
                  <a:pt x="1329248" y="8608"/>
                </a:lnTo>
                <a:lnTo>
                  <a:pt x="1280420" y="3851"/>
                </a:lnTo>
                <a:lnTo>
                  <a:pt x="1231024" y="969"/>
                </a:lnTo>
                <a:lnTo>
                  <a:pt x="1181100" y="0"/>
                </a:lnTo>
                <a:close/>
              </a:path>
            </a:pathLst>
          </a:custGeom>
          <a:solidFill>
            <a:srgbClr val="AED6FF"/>
          </a:solidFill>
        </p:spPr>
        <p:txBody>
          <a:bodyPr wrap="square" lIns="0" tIns="0" rIns="0" bIns="0" rtlCol="0"/>
          <a:lstStyle/>
          <a:p>
            <a:endParaRPr/>
          </a:p>
        </p:txBody>
      </p:sp>
      <p:sp>
        <p:nvSpPr>
          <p:cNvPr id="19" name="object 19"/>
          <p:cNvSpPr/>
          <p:nvPr/>
        </p:nvSpPr>
        <p:spPr>
          <a:xfrm>
            <a:off x="3048000" y="1143000"/>
            <a:ext cx="2362200" cy="2209800"/>
          </a:xfrm>
          <a:custGeom>
            <a:avLst/>
            <a:gdLst/>
            <a:ahLst/>
            <a:cxnLst/>
            <a:rect l="l" t="t" r="r" b="b"/>
            <a:pathLst>
              <a:path w="2362200" h="2209800">
                <a:moveTo>
                  <a:pt x="0" y="1104900"/>
                </a:moveTo>
                <a:lnTo>
                  <a:pt x="1036" y="1058193"/>
                </a:lnTo>
                <a:lnTo>
                  <a:pt x="4117" y="1011980"/>
                </a:lnTo>
                <a:lnTo>
                  <a:pt x="9202" y="966300"/>
                </a:lnTo>
                <a:lnTo>
                  <a:pt x="16251" y="921191"/>
                </a:lnTo>
                <a:lnTo>
                  <a:pt x="25222" y="876691"/>
                </a:lnTo>
                <a:lnTo>
                  <a:pt x="36073" y="832839"/>
                </a:lnTo>
                <a:lnTo>
                  <a:pt x="48765" y="789673"/>
                </a:lnTo>
                <a:lnTo>
                  <a:pt x="63256" y="747231"/>
                </a:lnTo>
                <a:lnTo>
                  <a:pt x="79505" y="705552"/>
                </a:lnTo>
                <a:lnTo>
                  <a:pt x="97471" y="664674"/>
                </a:lnTo>
                <a:lnTo>
                  <a:pt x="117113" y="624635"/>
                </a:lnTo>
                <a:lnTo>
                  <a:pt x="138390" y="585474"/>
                </a:lnTo>
                <a:lnTo>
                  <a:pt x="161261" y="547228"/>
                </a:lnTo>
                <a:lnTo>
                  <a:pt x="185686" y="509938"/>
                </a:lnTo>
                <a:lnTo>
                  <a:pt x="211622" y="473640"/>
                </a:lnTo>
                <a:lnTo>
                  <a:pt x="239029" y="438373"/>
                </a:lnTo>
                <a:lnTo>
                  <a:pt x="267867" y="404175"/>
                </a:lnTo>
                <a:lnTo>
                  <a:pt x="298093" y="371085"/>
                </a:lnTo>
                <a:lnTo>
                  <a:pt x="329668" y="339141"/>
                </a:lnTo>
                <a:lnTo>
                  <a:pt x="362549" y="308382"/>
                </a:lnTo>
                <a:lnTo>
                  <a:pt x="396697" y="278846"/>
                </a:lnTo>
                <a:lnTo>
                  <a:pt x="432069" y="250570"/>
                </a:lnTo>
                <a:lnTo>
                  <a:pt x="468626" y="223595"/>
                </a:lnTo>
                <a:lnTo>
                  <a:pt x="506325" y="197956"/>
                </a:lnTo>
                <a:lnTo>
                  <a:pt x="545127" y="173695"/>
                </a:lnTo>
                <a:lnTo>
                  <a:pt x="584990" y="150847"/>
                </a:lnTo>
                <a:lnTo>
                  <a:pt x="625872" y="129453"/>
                </a:lnTo>
                <a:lnTo>
                  <a:pt x="667734" y="109550"/>
                </a:lnTo>
                <a:lnTo>
                  <a:pt x="710534" y="91176"/>
                </a:lnTo>
                <a:lnTo>
                  <a:pt x="754230" y="74370"/>
                </a:lnTo>
                <a:lnTo>
                  <a:pt x="798783" y="59170"/>
                </a:lnTo>
                <a:lnTo>
                  <a:pt x="844151" y="45615"/>
                </a:lnTo>
                <a:lnTo>
                  <a:pt x="890292" y="33743"/>
                </a:lnTo>
                <a:lnTo>
                  <a:pt x="937167" y="23592"/>
                </a:lnTo>
                <a:lnTo>
                  <a:pt x="984733" y="15201"/>
                </a:lnTo>
                <a:lnTo>
                  <a:pt x="1032951" y="8608"/>
                </a:lnTo>
                <a:lnTo>
                  <a:pt x="1081779" y="3851"/>
                </a:lnTo>
                <a:lnTo>
                  <a:pt x="1131175" y="969"/>
                </a:lnTo>
                <a:lnTo>
                  <a:pt x="1181100" y="0"/>
                </a:lnTo>
                <a:lnTo>
                  <a:pt x="1231024" y="969"/>
                </a:lnTo>
                <a:lnTo>
                  <a:pt x="1280420" y="3851"/>
                </a:lnTo>
                <a:lnTo>
                  <a:pt x="1329248" y="8608"/>
                </a:lnTo>
                <a:lnTo>
                  <a:pt x="1377466" y="15201"/>
                </a:lnTo>
                <a:lnTo>
                  <a:pt x="1425032" y="23592"/>
                </a:lnTo>
                <a:lnTo>
                  <a:pt x="1471907" y="33743"/>
                </a:lnTo>
                <a:lnTo>
                  <a:pt x="1518048" y="45615"/>
                </a:lnTo>
                <a:lnTo>
                  <a:pt x="1563416" y="59170"/>
                </a:lnTo>
                <a:lnTo>
                  <a:pt x="1607969" y="74370"/>
                </a:lnTo>
                <a:lnTo>
                  <a:pt x="1651665" y="91176"/>
                </a:lnTo>
                <a:lnTo>
                  <a:pt x="1694465" y="109550"/>
                </a:lnTo>
                <a:lnTo>
                  <a:pt x="1736327" y="129453"/>
                </a:lnTo>
                <a:lnTo>
                  <a:pt x="1777209" y="150847"/>
                </a:lnTo>
                <a:lnTo>
                  <a:pt x="1817072" y="173695"/>
                </a:lnTo>
                <a:lnTo>
                  <a:pt x="1855874" y="197956"/>
                </a:lnTo>
                <a:lnTo>
                  <a:pt x="1893573" y="223595"/>
                </a:lnTo>
                <a:lnTo>
                  <a:pt x="1930130" y="250570"/>
                </a:lnTo>
                <a:lnTo>
                  <a:pt x="1965502" y="278846"/>
                </a:lnTo>
                <a:lnTo>
                  <a:pt x="1999650" y="308382"/>
                </a:lnTo>
                <a:lnTo>
                  <a:pt x="2032531" y="339141"/>
                </a:lnTo>
                <a:lnTo>
                  <a:pt x="2064106" y="371085"/>
                </a:lnTo>
                <a:lnTo>
                  <a:pt x="2094332" y="404175"/>
                </a:lnTo>
                <a:lnTo>
                  <a:pt x="2123170" y="438373"/>
                </a:lnTo>
                <a:lnTo>
                  <a:pt x="2150577" y="473640"/>
                </a:lnTo>
                <a:lnTo>
                  <a:pt x="2176513" y="509938"/>
                </a:lnTo>
                <a:lnTo>
                  <a:pt x="2200938" y="547228"/>
                </a:lnTo>
                <a:lnTo>
                  <a:pt x="2223809" y="585474"/>
                </a:lnTo>
                <a:lnTo>
                  <a:pt x="2245086" y="624635"/>
                </a:lnTo>
                <a:lnTo>
                  <a:pt x="2264728" y="664674"/>
                </a:lnTo>
                <a:lnTo>
                  <a:pt x="2282694" y="705552"/>
                </a:lnTo>
                <a:lnTo>
                  <a:pt x="2298943" y="747231"/>
                </a:lnTo>
                <a:lnTo>
                  <a:pt x="2313434" y="789673"/>
                </a:lnTo>
                <a:lnTo>
                  <a:pt x="2326126" y="832839"/>
                </a:lnTo>
                <a:lnTo>
                  <a:pt x="2336977" y="876691"/>
                </a:lnTo>
                <a:lnTo>
                  <a:pt x="2345948" y="921191"/>
                </a:lnTo>
                <a:lnTo>
                  <a:pt x="2352997" y="966300"/>
                </a:lnTo>
                <a:lnTo>
                  <a:pt x="2358082" y="1011980"/>
                </a:lnTo>
                <a:lnTo>
                  <a:pt x="2361163" y="1058193"/>
                </a:lnTo>
                <a:lnTo>
                  <a:pt x="2362200" y="1104900"/>
                </a:lnTo>
                <a:lnTo>
                  <a:pt x="2361163" y="1151606"/>
                </a:lnTo>
                <a:lnTo>
                  <a:pt x="2358082" y="1197819"/>
                </a:lnTo>
                <a:lnTo>
                  <a:pt x="2352997" y="1243499"/>
                </a:lnTo>
                <a:lnTo>
                  <a:pt x="2345948" y="1288608"/>
                </a:lnTo>
                <a:lnTo>
                  <a:pt x="2336977" y="1333108"/>
                </a:lnTo>
                <a:lnTo>
                  <a:pt x="2326126" y="1376960"/>
                </a:lnTo>
                <a:lnTo>
                  <a:pt x="2313434" y="1420126"/>
                </a:lnTo>
                <a:lnTo>
                  <a:pt x="2298943" y="1462568"/>
                </a:lnTo>
                <a:lnTo>
                  <a:pt x="2282694" y="1504247"/>
                </a:lnTo>
                <a:lnTo>
                  <a:pt x="2264728" y="1545125"/>
                </a:lnTo>
                <a:lnTo>
                  <a:pt x="2245086" y="1585164"/>
                </a:lnTo>
                <a:lnTo>
                  <a:pt x="2223809" y="1624325"/>
                </a:lnTo>
                <a:lnTo>
                  <a:pt x="2200938" y="1662571"/>
                </a:lnTo>
                <a:lnTo>
                  <a:pt x="2176513" y="1699861"/>
                </a:lnTo>
                <a:lnTo>
                  <a:pt x="2150577" y="1736159"/>
                </a:lnTo>
                <a:lnTo>
                  <a:pt x="2123170" y="1771426"/>
                </a:lnTo>
                <a:lnTo>
                  <a:pt x="2094332" y="1805624"/>
                </a:lnTo>
                <a:lnTo>
                  <a:pt x="2064106" y="1838714"/>
                </a:lnTo>
                <a:lnTo>
                  <a:pt x="2032531" y="1870658"/>
                </a:lnTo>
                <a:lnTo>
                  <a:pt x="1999650" y="1901417"/>
                </a:lnTo>
                <a:lnTo>
                  <a:pt x="1965502" y="1930953"/>
                </a:lnTo>
                <a:lnTo>
                  <a:pt x="1930130" y="1959229"/>
                </a:lnTo>
                <a:lnTo>
                  <a:pt x="1893573" y="1986204"/>
                </a:lnTo>
                <a:lnTo>
                  <a:pt x="1855874" y="2011843"/>
                </a:lnTo>
                <a:lnTo>
                  <a:pt x="1817072" y="2036104"/>
                </a:lnTo>
                <a:lnTo>
                  <a:pt x="1777209" y="2058952"/>
                </a:lnTo>
                <a:lnTo>
                  <a:pt x="1736327" y="2080346"/>
                </a:lnTo>
                <a:lnTo>
                  <a:pt x="1694465" y="2100249"/>
                </a:lnTo>
                <a:lnTo>
                  <a:pt x="1651665" y="2118623"/>
                </a:lnTo>
                <a:lnTo>
                  <a:pt x="1607969" y="2135429"/>
                </a:lnTo>
                <a:lnTo>
                  <a:pt x="1563416" y="2150629"/>
                </a:lnTo>
                <a:lnTo>
                  <a:pt x="1518048" y="2164184"/>
                </a:lnTo>
                <a:lnTo>
                  <a:pt x="1471907" y="2176056"/>
                </a:lnTo>
                <a:lnTo>
                  <a:pt x="1425032" y="2186207"/>
                </a:lnTo>
                <a:lnTo>
                  <a:pt x="1377466" y="2194598"/>
                </a:lnTo>
                <a:lnTo>
                  <a:pt x="1329248" y="2201191"/>
                </a:lnTo>
                <a:lnTo>
                  <a:pt x="1280420" y="2205948"/>
                </a:lnTo>
                <a:lnTo>
                  <a:pt x="1231024" y="2208830"/>
                </a:lnTo>
                <a:lnTo>
                  <a:pt x="1181100" y="2209800"/>
                </a:lnTo>
                <a:lnTo>
                  <a:pt x="1131175" y="2208830"/>
                </a:lnTo>
                <a:lnTo>
                  <a:pt x="1081779" y="2205948"/>
                </a:lnTo>
                <a:lnTo>
                  <a:pt x="1032951" y="2201191"/>
                </a:lnTo>
                <a:lnTo>
                  <a:pt x="984733" y="2194598"/>
                </a:lnTo>
                <a:lnTo>
                  <a:pt x="937167" y="2186207"/>
                </a:lnTo>
                <a:lnTo>
                  <a:pt x="890292" y="2176056"/>
                </a:lnTo>
                <a:lnTo>
                  <a:pt x="844151" y="2164184"/>
                </a:lnTo>
                <a:lnTo>
                  <a:pt x="798783" y="2150629"/>
                </a:lnTo>
                <a:lnTo>
                  <a:pt x="754230" y="2135429"/>
                </a:lnTo>
                <a:lnTo>
                  <a:pt x="710534" y="2118623"/>
                </a:lnTo>
                <a:lnTo>
                  <a:pt x="667734" y="2100249"/>
                </a:lnTo>
                <a:lnTo>
                  <a:pt x="625872" y="2080346"/>
                </a:lnTo>
                <a:lnTo>
                  <a:pt x="584990" y="2058952"/>
                </a:lnTo>
                <a:lnTo>
                  <a:pt x="545127" y="2036104"/>
                </a:lnTo>
                <a:lnTo>
                  <a:pt x="506325" y="2011843"/>
                </a:lnTo>
                <a:lnTo>
                  <a:pt x="468626" y="1986204"/>
                </a:lnTo>
                <a:lnTo>
                  <a:pt x="432069" y="1959229"/>
                </a:lnTo>
                <a:lnTo>
                  <a:pt x="396697" y="1930953"/>
                </a:lnTo>
                <a:lnTo>
                  <a:pt x="362549" y="1901417"/>
                </a:lnTo>
                <a:lnTo>
                  <a:pt x="329668" y="1870658"/>
                </a:lnTo>
                <a:lnTo>
                  <a:pt x="298093" y="1838714"/>
                </a:lnTo>
                <a:lnTo>
                  <a:pt x="267867" y="1805624"/>
                </a:lnTo>
                <a:lnTo>
                  <a:pt x="239029" y="1771426"/>
                </a:lnTo>
                <a:lnTo>
                  <a:pt x="211622" y="1736159"/>
                </a:lnTo>
                <a:lnTo>
                  <a:pt x="185686" y="1699861"/>
                </a:lnTo>
                <a:lnTo>
                  <a:pt x="161261" y="1662571"/>
                </a:lnTo>
                <a:lnTo>
                  <a:pt x="138390" y="1624325"/>
                </a:lnTo>
                <a:lnTo>
                  <a:pt x="117113" y="1585164"/>
                </a:lnTo>
                <a:lnTo>
                  <a:pt x="97471" y="1545125"/>
                </a:lnTo>
                <a:lnTo>
                  <a:pt x="79505" y="1504247"/>
                </a:lnTo>
                <a:lnTo>
                  <a:pt x="63256" y="1462568"/>
                </a:lnTo>
                <a:lnTo>
                  <a:pt x="48765" y="1420126"/>
                </a:lnTo>
                <a:lnTo>
                  <a:pt x="36073" y="1376960"/>
                </a:lnTo>
                <a:lnTo>
                  <a:pt x="25222" y="1333108"/>
                </a:lnTo>
                <a:lnTo>
                  <a:pt x="16251" y="1288608"/>
                </a:lnTo>
                <a:lnTo>
                  <a:pt x="9202" y="1243499"/>
                </a:lnTo>
                <a:lnTo>
                  <a:pt x="4117" y="1197819"/>
                </a:lnTo>
                <a:lnTo>
                  <a:pt x="1036" y="1151606"/>
                </a:lnTo>
                <a:lnTo>
                  <a:pt x="0" y="1104900"/>
                </a:lnTo>
                <a:close/>
              </a:path>
            </a:pathLst>
          </a:custGeom>
          <a:ln w="88900">
            <a:solidFill>
              <a:srgbClr val="000080"/>
            </a:solidFill>
          </a:ln>
        </p:spPr>
        <p:txBody>
          <a:bodyPr wrap="square" lIns="0" tIns="0" rIns="0" bIns="0" rtlCol="0"/>
          <a:lstStyle/>
          <a:p>
            <a:endParaRPr/>
          </a:p>
        </p:txBody>
      </p:sp>
      <p:sp>
        <p:nvSpPr>
          <p:cNvPr id="20" name="object 20"/>
          <p:cNvSpPr/>
          <p:nvPr/>
        </p:nvSpPr>
        <p:spPr>
          <a:xfrm>
            <a:off x="3593846" y="1321180"/>
            <a:ext cx="1216914" cy="641604"/>
          </a:xfrm>
          <a:prstGeom prst="rect">
            <a:avLst/>
          </a:prstGeom>
          <a:blipFill>
            <a:blip r:embed="rId6" cstate="print"/>
            <a:stretch>
              <a:fillRect/>
            </a:stretch>
          </a:blipFill>
        </p:spPr>
        <p:txBody>
          <a:bodyPr wrap="square" lIns="0" tIns="0" rIns="0" bIns="0" rtlCol="0"/>
          <a:lstStyle/>
          <a:p>
            <a:endParaRPr/>
          </a:p>
        </p:txBody>
      </p:sp>
      <p:sp>
        <p:nvSpPr>
          <p:cNvPr id="21" name="object 21"/>
          <p:cNvSpPr/>
          <p:nvPr/>
        </p:nvSpPr>
        <p:spPr>
          <a:xfrm>
            <a:off x="3593846" y="1321180"/>
            <a:ext cx="1217295" cy="641985"/>
          </a:xfrm>
          <a:custGeom>
            <a:avLst/>
            <a:gdLst/>
            <a:ahLst/>
            <a:cxnLst/>
            <a:rect l="l" t="t" r="r" b="b"/>
            <a:pathLst>
              <a:path w="1217295" h="641985">
                <a:moveTo>
                  <a:pt x="0" y="320802"/>
                </a:moveTo>
                <a:lnTo>
                  <a:pt x="12361" y="256151"/>
                </a:lnTo>
                <a:lnTo>
                  <a:pt x="47815" y="195935"/>
                </a:lnTo>
                <a:lnTo>
                  <a:pt x="103914" y="141442"/>
                </a:lnTo>
                <a:lnTo>
                  <a:pt x="138941" y="116745"/>
                </a:lnTo>
                <a:lnTo>
                  <a:pt x="178212" y="93964"/>
                </a:lnTo>
                <a:lnTo>
                  <a:pt x="221421" y="73258"/>
                </a:lnTo>
                <a:lnTo>
                  <a:pt x="268262" y="54790"/>
                </a:lnTo>
                <a:lnTo>
                  <a:pt x="318430" y="38720"/>
                </a:lnTo>
                <a:lnTo>
                  <a:pt x="371617" y="25211"/>
                </a:lnTo>
                <a:lnTo>
                  <a:pt x="427520" y="14423"/>
                </a:lnTo>
                <a:lnTo>
                  <a:pt x="485831" y="6517"/>
                </a:lnTo>
                <a:lnTo>
                  <a:pt x="546245" y="1656"/>
                </a:lnTo>
                <a:lnTo>
                  <a:pt x="608456" y="0"/>
                </a:lnTo>
                <a:lnTo>
                  <a:pt x="670668" y="1656"/>
                </a:lnTo>
                <a:lnTo>
                  <a:pt x="731082" y="6517"/>
                </a:lnTo>
                <a:lnTo>
                  <a:pt x="789393" y="14423"/>
                </a:lnTo>
                <a:lnTo>
                  <a:pt x="845296" y="25211"/>
                </a:lnTo>
                <a:lnTo>
                  <a:pt x="898483" y="38720"/>
                </a:lnTo>
                <a:lnTo>
                  <a:pt x="948651" y="54790"/>
                </a:lnTo>
                <a:lnTo>
                  <a:pt x="995492" y="73258"/>
                </a:lnTo>
                <a:lnTo>
                  <a:pt x="1038701" y="93964"/>
                </a:lnTo>
                <a:lnTo>
                  <a:pt x="1077972" y="116745"/>
                </a:lnTo>
                <a:lnTo>
                  <a:pt x="1112999" y="141442"/>
                </a:lnTo>
                <a:lnTo>
                  <a:pt x="1143476" y="167892"/>
                </a:lnTo>
                <a:lnTo>
                  <a:pt x="1189559" y="225408"/>
                </a:lnTo>
                <a:lnTo>
                  <a:pt x="1213772" y="288003"/>
                </a:lnTo>
                <a:lnTo>
                  <a:pt x="1216914" y="320802"/>
                </a:lnTo>
                <a:lnTo>
                  <a:pt x="1213772" y="353600"/>
                </a:lnTo>
                <a:lnTo>
                  <a:pt x="1204552" y="385452"/>
                </a:lnTo>
                <a:lnTo>
                  <a:pt x="1169098" y="445668"/>
                </a:lnTo>
                <a:lnTo>
                  <a:pt x="1112999" y="500161"/>
                </a:lnTo>
                <a:lnTo>
                  <a:pt x="1077972" y="524858"/>
                </a:lnTo>
                <a:lnTo>
                  <a:pt x="1038701" y="547639"/>
                </a:lnTo>
                <a:lnTo>
                  <a:pt x="995492" y="568345"/>
                </a:lnTo>
                <a:lnTo>
                  <a:pt x="948651" y="586813"/>
                </a:lnTo>
                <a:lnTo>
                  <a:pt x="898483" y="602883"/>
                </a:lnTo>
                <a:lnTo>
                  <a:pt x="845296" y="616392"/>
                </a:lnTo>
                <a:lnTo>
                  <a:pt x="789393" y="627180"/>
                </a:lnTo>
                <a:lnTo>
                  <a:pt x="731082" y="635086"/>
                </a:lnTo>
                <a:lnTo>
                  <a:pt x="670668" y="639947"/>
                </a:lnTo>
                <a:lnTo>
                  <a:pt x="608456" y="641604"/>
                </a:lnTo>
                <a:lnTo>
                  <a:pt x="546245" y="639947"/>
                </a:lnTo>
                <a:lnTo>
                  <a:pt x="485831" y="635086"/>
                </a:lnTo>
                <a:lnTo>
                  <a:pt x="427520" y="627180"/>
                </a:lnTo>
                <a:lnTo>
                  <a:pt x="371617" y="616392"/>
                </a:lnTo>
                <a:lnTo>
                  <a:pt x="318430" y="602883"/>
                </a:lnTo>
                <a:lnTo>
                  <a:pt x="268262" y="586813"/>
                </a:lnTo>
                <a:lnTo>
                  <a:pt x="221421" y="568345"/>
                </a:lnTo>
                <a:lnTo>
                  <a:pt x="178212" y="547639"/>
                </a:lnTo>
                <a:lnTo>
                  <a:pt x="138941" y="524858"/>
                </a:lnTo>
                <a:lnTo>
                  <a:pt x="103914" y="500161"/>
                </a:lnTo>
                <a:lnTo>
                  <a:pt x="73437" y="473711"/>
                </a:lnTo>
                <a:lnTo>
                  <a:pt x="27354" y="416195"/>
                </a:lnTo>
                <a:lnTo>
                  <a:pt x="3141" y="353600"/>
                </a:lnTo>
                <a:lnTo>
                  <a:pt x="0" y="320802"/>
                </a:lnTo>
                <a:close/>
              </a:path>
            </a:pathLst>
          </a:custGeom>
          <a:ln w="12700">
            <a:solidFill>
              <a:srgbClr val="DBFFC8"/>
            </a:solidFill>
          </a:ln>
        </p:spPr>
        <p:txBody>
          <a:bodyPr wrap="square" lIns="0" tIns="0" rIns="0" bIns="0" rtlCol="0"/>
          <a:lstStyle/>
          <a:p>
            <a:endParaRPr/>
          </a:p>
        </p:txBody>
      </p:sp>
      <p:sp>
        <p:nvSpPr>
          <p:cNvPr id="22" name="object 22"/>
          <p:cNvSpPr txBox="1"/>
          <p:nvPr/>
        </p:nvSpPr>
        <p:spPr>
          <a:xfrm>
            <a:off x="3941826" y="1360296"/>
            <a:ext cx="520700" cy="560705"/>
          </a:xfrm>
          <a:prstGeom prst="rect">
            <a:avLst/>
          </a:prstGeom>
        </p:spPr>
        <p:txBody>
          <a:bodyPr vert="horz" wrap="square" lIns="0" tIns="0" rIns="0" bIns="0" rtlCol="0">
            <a:spAutoFit/>
          </a:bodyPr>
          <a:lstStyle/>
          <a:p>
            <a:pPr marL="62865" marR="5080" indent="-50800">
              <a:lnSpc>
                <a:spcPct val="100000"/>
              </a:lnSpc>
            </a:pPr>
            <a:r>
              <a:rPr sz="1800" b="1" spc="-5" dirty="0">
                <a:latin typeface="Times New Roman"/>
                <a:cs typeface="Times New Roman"/>
              </a:rPr>
              <a:t>Sales  Org</a:t>
            </a:r>
            <a:endParaRPr sz="1800">
              <a:latin typeface="Times New Roman"/>
              <a:cs typeface="Times New Roman"/>
            </a:endParaRPr>
          </a:p>
        </p:txBody>
      </p:sp>
      <p:sp>
        <p:nvSpPr>
          <p:cNvPr id="23" name="object 23"/>
          <p:cNvSpPr/>
          <p:nvPr/>
        </p:nvSpPr>
        <p:spPr>
          <a:xfrm>
            <a:off x="3334384" y="2461767"/>
            <a:ext cx="715772" cy="570230"/>
          </a:xfrm>
          <a:prstGeom prst="rect">
            <a:avLst/>
          </a:prstGeom>
          <a:blipFill>
            <a:blip r:embed="rId7" cstate="print"/>
            <a:stretch>
              <a:fillRect/>
            </a:stretch>
          </a:blipFill>
        </p:spPr>
        <p:txBody>
          <a:bodyPr wrap="square" lIns="0" tIns="0" rIns="0" bIns="0" rtlCol="0"/>
          <a:lstStyle/>
          <a:p>
            <a:endParaRPr/>
          </a:p>
        </p:txBody>
      </p:sp>
      <p:sp>
        <p:nvSpPr>
          <p:cNvPr id="24" name="object 24"/>
          <p:cNvSpPr/>
          <p:nvPr/>
        </p:nvSpPr>
        <p:spPr>
          <a:xfrm>
            <a:off x="3334384" y="2461767"/>
            <a:ext cx="716280" cy="570230"/>
          </a:xfrm>
          <a:custGeom>
            <a:avLst/>
            <a:gdLst/>
            <a:ahLst/>
            <a:cxnLst/>
            <a:rect l="l" t="t" r="r" b="b"/>
            <a:pathLst>
              <a:path w="716279" h="570230">
                <a:moveTo>
                  <a:pt x="0" y="285115"/>
                </a:moveTo>
                <a:lnTo>
                  <a:pt x="3878" y="242979"/>
                </a:lnTo>
                <a:lnTo>
                  <a:pt x="15145" y="202764"/>
                </a:lnTo>
                <a:lnTo>
                  <a:pt x="33249" y="164911"/>
                </a:lnTo>
                <a:lnTo>
                  <a:pt x="57636" y="129860"/>
                </a:lnTo>
                <a:lnTo>
                  <a:pt x="87754" y="98052"/>
                </a:lnTo>
                <a:lnTo>
                  <a:pt x="123052" y="69928"/>
                </a:lnTo>
                <a:lnTo>
                  <a:pt x="162976" y="45929"/>
                </a:lnTo>
                <a:lnTo>
                  <a:pt x="206973" y="26496"/>
                </a:lnTo>
                <a:lnTo>
                  <a:pt x="254493" y="12070"/>
                </a:lnTo>
                <a:lnTo>
                  <a:pt x="304981" y="3091"/>
                </a:lnTo>
                <a:lnTo>
                  <a:pt x="357886" y="0"/>
                </a:lnTo>
                <a:lnTo>
                  <a:pt x="410762" y="3091"/>
                </a:lnTo>
                <a:lnTo>
                  <a:pt x="461232" y="12070"/>
                </a:lnTo>
                <a:lnTo>
                  <a:pt x="508743" y="26496"/>
                </a:lnTo>
                <a:lnTo>
                  <a:pt x="552739" y="45929"/>
                </a:lnTo>
                <a:lnTo>
                  <a:pt x="592668" y="69928"/>
                </a:lnTo>
                <a:lnTo>
                  <a:pt x="627974" y="98052"/>
                </a:lnTo>
                <a:lnTo>
                  <a:pt x="658103" y="129860"/>
                </a:lnTo>
                <a:lnTo>
                  <a:pt x="682502" y="164911"/>
                </a:lnTo>
                <a:lnTo>
                  <a:pt x="700615" y="202764"/>
                </a:lnTo>
                <a:lnTo>
                  <a:pt x="711890" y="242979"/>
                </a:lnTo>
                <a:lnTo>
                  <a:pt x="715772" y="285115"/>
                </a:lnTo>
                <a:lnTo>
                  <a:pt x="711890" y="327250"/>
                </a:lnTo>
                <a:lnTo>
                  <a:pt x="700615" y="367465"/>
                </a:lnTo>
                <a:lnTo>
                  <a:pt x="682502" y="405318"/>
                </a:lnTo>
                <a:lnTo>
                  <a:pt x="658103" y="440369"/>
                </a:lnTo>
                <a:lnTo>
                  <a:pt x="627974" y="472177"/>
                </a:lnTo>
                <a:lnTo>
                  <a:pt x="592668" y="500301"/>
                </a:lnTo>
                <a:lnTo>
                  <a:pt x="552739" y="524300"/>
                </a:lnTo>
                <a:lnTo>
                  <a:pt x="508743" y="543733"/>
                </a:lnTo>
                <a:lnTo>
                  <a:pt x="461232" y="558159"/>
                </a:lnTo>
                <a:lnTo>
                  <a:pt x="410762" y="567138"/>
                </a:lnTo>
                <a:lnTo>
                  <a:pt x="357886" y="570230"/>
                </a:lnTo>
                <a:lnTo>
                  <a:pt x="304981" y="567138"/>
                </a:lnTo>
                <a:lnTo>
                  <a:pt x="254493" y="558159"/>
                </a:lnTo>
                <a:lnTo>
                  <a:pt x="206973" y="543733"/>
                </a:lnTo>
                <a:lnTo>
                  <a:pt x="162976" y="524300"/>
                </a:lnTo>
                <a:lnTo>
                  <a:pt x="123052" y="500301"/>
                </a:lnTo>
                <a:lnTo>
                  <a:pt x="87754" y="472177"/>
                </a:lnTo>
                <a:lnTo>
                  <a:pt x="57636" y="440369"/>
                </a:lnTo>
                <a:lnTo>
                  <a:pt x="33249" y="405318"/>
                </a:lnTo>
                <a:lnTo>
                  <a:pt x="15145" y="367465"/>
                </a:lnTo>
                <a:lnTo>
                  <a:pt x="3878" y="327250"/>
                </a:lnTo>
                <a:lnTo>
                  <a:pt x="0" y="285115"/>
                </a:lnTo>
                <a:close/>
              </a:path>
            </a:pathLst>
          </a:custGeom>
          <a:ln w="12700">
            <a:solidFill>
              <a:srgbClr val="FFFF00"/>
            </a:solidFill>
          </a:ln>
        </p:spPr>
        <p:txBody>
          <a:bodyPr wrap="square" lIns="0" tIns="0" rIns="0" bIns="0" rtlCol="0"/>
          <a:lstStyle/>
          <a:p>
            <a:endParaRPr/>
          </a:p>
        </p:txBody>
      </p:sp>
      <p:sp>
        <p:nvSpPr>
          <p:cNvPr id="25" name="object 25"/>
          <p:cNvSpPr txBox="1"/>
          <p:nvPr/>
        </p:nvSpPr>
        <p:spPr>
          <a:xfrm>
            <a:off x="3437890" y="2528570"/>
            <a:ext cx="510540" cy="438784"/>
          </a:xfrm>
          <a:prstGeom prst="rect">
            <a:avLst/>
          </a:prstGeom>
        </p:spPr>
        <p:txBody>
          <a:bodyPr vert="horz" wrap="square" lIns="0" tIns="0" rIns="0" bIns="0" rtlCol="0">
            <a:spAutoFit/>
          </a:bodyPr>
          <a:lstStyle/>
          <a:p>
            <a:pPr marL="12700" marR="5080" indent="10160">
              <a:lnSpc>
                <a:spcPct val="100000"/>
              </a:lnSpc>
            </a:pPr>
            <a:r>
              <a:rPr sz="1400" b="1" spc="-10" dirty="0">
                <a:latin typeface="Times New Roman"/>
                <a:cs typeface="Times New Roman"/>
              </a:rPr>
              <a:t>C</a:t>
            </a:r>
            <a:r>
              <a:rPr sz="1400" b="1" dirty="0">
                <a:latin typeface="Times New Roman"/>
                <a:cs typeface="Times New Roman"/>
              </a:rPr>
              <a:t>o</a:t>
            </a:r>
            <a:r>
              <a:rPr sz="1400" b="1" spc="-20" dirty="0">
                <a:latin typeface="Times New Roman"/>
                <a:cs typeface="Times New Roman"/>
              </a:rPr>
              <a:t>m</a:t>
            </a:r>
            <a:r>
              <a:rPr sz="1400" b="1" dirty="0">
                <a:latin typeface="Times New Roman"/>
                <a:cs typeface="Times New Roman"/>
              </a:rPr>
              <a:t>p  </a:t>
            </a:r>
            <a:r>
              <a:rPr sz="1400" b="1" spc="-10" dirty="0">
                <a:latin typeface="Times New Roman"/>
                <a:cs typeface="Times New Roman"/>
              </a:rPr>
              <a:t>C</a:t>
            </a:r>
            <a:r>
              <a:rPr sz="1400" b="1" dirty="0">
                <a:latin typeface="Times New Roman"/>
                <a:cs typeface="Times New Roman"/>
              </a:rPr>
              <a:t>ode1</a:t>
            </a:r>
            <a:endParaRPr sz="1400">
              <a:latin typeface="Times New Roman"/>
              <a:cs typeface="Times New Roman"/>
            </a:endParaRPr>
          </a:p>
        </p:txBody>
      </p:sp>
      <p:sp>
        <p:nvSpPr>
          <p:cNvPr id="26" name="object 26"/>
          <p:cNvSpPr/>
          <p:nvPr/>
        </p:nvSpPr>
        <p:spPr>
          <a:xfrm>
            <a:off x="4417059" y="2470657"/>
            <a:ext cx="715772" cy="570229"/>
          </a:xfrm>
          <a:prstGeom prst="rect">
            <a:avLst/>
          </a:prstGeom>
          <a:blipFill>
            <a:blip r:embed="rId8" cstate="print"/>
            <a:stretch>
              <a:fillRect/>
            </a:stretch>
          </a:blipFill>
        </p:spPr>
        <p:txBody>
          <a:bodyPr wrap="square" lIns="0" tIns="0" rIns="0" bIns="0" rtlCol="0"/>
          <a:lstStyle/>
          <a:p>
            <a:endParaRPr/>
          </a:p>
        </p:txBody>
      </p:sp>
      <p:sp>
        <p:nvSpPr>
          <p:cNvPr id="27" name="object 27"/>
          <p:cNvSpPr/>
          <p:nvPr/>
        </p:nvSpPr>
        <p:spPr>
          <a:xfrm>
            <a:off x="4417059" y="2470657"/>
            <a:ext cx="716280" cy="570230"/>
          </a:xfrm>
          <a:custGeom>
            <a:avLst/>
            <a:gdLst/>
            <a:ahLst/>
            <a:cxnLst/>
            <a:rect l="l" t="t" r="r" b="b"/>
            <a:pathLst>
              <a:path w="716279" h="570230">
                <a:moveTo>
                  <a:pt x="0" y="285114"/>
                </a:moveTo>
                <a:lnTo>
                  <a:pt x="3878" y="242979"/>
                </a:lnTo>
                <a:lnTo>
                  <a:pt x="15145" y="202764"/>
                </a:lnTo>
                <a:lnTo>
                  <a:pt x="33249" y="164911"/>
                </a:lnTo>
                <a:lnTo>
                  <a:pt x="57636" y="129860"/>
                </a:lnTo>
                <a:lnTo>
                  <a:pt x="87754" y="98052"/>
                </a:lnTo>
                <a:lnTo>
                  <a:pt x="123052" y="69928"/>
                </a:lnTo>
                <a:lnTo>
                  <a:pt x="162976" y="45929"/>
                </a:lnTo>
                <a:lnTo>
                  <a:pt x="206973" y="26496"/>
                </a:lnTo>
                <a:lnTo>
                  <a:pt x="254493" y="12070"/>
                </a:lnTo>
                <a:lnTo>
                  <a:pt x="304981" y="3091"/>
                </a:lnTo>
                <a:lnTo>
                  <a:pt x="357886" y="0"/>
                </a:lnTo>
                <a:lnTo>
                  <a:pt x="410762" y="3091"/>
                </a:lnTo>
                <a:lnTo>
                  <a:pt x="461232" y="12070"/>
                </a:lnTo>
                <a:lnTo>
                  <a:pt x="508743" y="26496"/>
                </a:lnTo>
                <a:lnTo>
                  <a:pt x="552739" y="45929"/>
                </a:lnTo>
                <a:lnTo>
                  <a:pt x="592668" y="69928"/>
                </a:lnTo>
                <a:lnTo>
                  <a:pt x="627974" y="98052"/>
                </a:lnTo>
                <a:lnTo>
                  <a:pt x="658103" y="129860"/>
                </a:lnTo>
                <a:lnTo>
                  <a:pt x="682502" y="164911"/>
                </a:lnTo>
                <a:lnTo>
                  <a:pt x="700615" y="202764"/>
                </a:lnTo>
                <a:lnTo>
                  <a:pt x="711890" y="242979"/>
                </a:lnTo>
                <a:lnTo>
                  <a:pt x="715772" y="285114"/>
                </a:lnTo>
                <a:lnTo>
                  <a:pt x="711890" y="327250"/>
                </a:lnTo>
                <a:lnTo>
                  <a:pt x="700615" y="367465"/>
                </a:lnTo>
                <a:lnTo>
                  <a:pt x="682502" y="405318"/>
                </a:lnTo>
                <a:lnTo>
                  <a:pt x="658103" y="440369"/>
                </a:lnTo>
                <a:lnTo>
                  <a:pt x="627974" y="472177"/>
                </a:lnTo>
                <a:lnTo>
                  <a:pt x="592668" y="500301"/>
                </a:lnTo>
                <a:lnTo>
                  <a:pt x="552739" y="524300"/>
                </a:lnTo>
                <a:lnTo>
                  <a:pt x="508743" y="543733"/>
                </a:lnTo>
                <a:lnTo>
                  <a:pt x="461232" y="558159"/>
                </a:lnTo>
                <a:lnTo>
                  <a:pt x="410762" y="567138"/>
                </a:lnTo>
                <a:lnTo>
                  <a:pt x="357886" y="570229"/>
                </a:lnTo>
                <a:lnTo>
                  <a:pt x="304981" y="567138"/>
                </a:lnTo>
                <a:lnTo>
                  <a:pt x="254493" y="558159"/>
                </a:lnTo>
                <a:lnTo>
                  <a:pt x="206973" y="543733"/>
                </a:lnTo>
                <a:lnTo>
                  <a:pt x="162976" y="524300"/>
                </a:lnTo>
                <a:lnTo>
                  <a:pt x="123052" y="500301"/>
                </a:lnTo>
                <a:lnTo>
                  <a:pt x="87754" y="472177"/>
                </a:lnTo>
                <a:lnTo>
                  <a:pt x="57636" y="440369"/>
                </a:lnTo>
                <a:lnTo>
                  <a:pt x="33249" y="405318"/>
                </a:lnTo>
                <a:lnTo>
                  <a:pt x="15145" y="367465"/>
                </a:lnTo>
                <a:lnTo>
                  <a:pt x="3878" y="327250"/>
                </a:lnTo>
                <a:lnTo>
                  <a:pt x="0" y="285114"/>
                </a:lnTo>
                <a:close/>
              </a:path>
            </a:pathLst>
          </a:custGeom>
          <a:ln w="12700">
            <a:solidFill>
              <a:srgbClr val="FFFF00"/>
            </a:solidFill>
          </a:ln>
        </p:spPr>
        <p:txBody>
          <a:bodyPr wrap="square" lIns="0" tIns="0" rIns="0" bIns="0" rtlCol="0"/>
          <a:lstStyle/>
          <a:p>
            <a:endParaRPr/>
          </a:p>
        </p:txBody>
      </p:sp>
      <p:sp>
        <p:nvSpPr>
          <p:cNvPr id="28" name="object 28"/>
          <p:cNvSpPr txBox="1"/>
          <p:nvPr/>
        </p:nvSpPr>
        <p:spPr>
          <a:xfrm>
            <a:off x="4520946" y="2537333"/>
            <a:ext cx="510540" cy="438784"/>
          </a:xfrm>
          <a:prstGeom prst="rect">
            <a:avLst/>
          </a:prstGeom>
        </p:spPr>
        <p:txBody>
          <a:bodyPr vert="horz" wrap="square" lIns="0" tIns="0" rIns="0" bIns="0" rtlCol="0">
            <a:spAutoFit/>
          </a:bodyPr>
          <a:lstStyle/>
          <a:p>
            <a:pPr marL="12700" marR="5080" indent="10160">
              <a:lnSpc>
                <a:spcPct val="100000"/>
              </a:lnSpc>
            </a:pPr>
            <a:r>
              <a:rPr sz="1400" b="1" spc="-10" dirty="0">
                <a:latin typeface="Times New Roman"/>
                <a:cs typeface="Times New Roman"/>
              </a:rPr>
              <a:t>C</a:t>
            </a:r>
            <a:r>
              <a:rPr sz="1400" b="1" dirty="0">
                <a:latin typeface="Times New Roman"/>
                <a:cs typeface="Times New Roman"/>
              </a:rPr>
              <a:t>o</a:t>
            </a:r>
            <a:r>
              <a:rPr sz="1400" b="1" spc="-20" dirty="0">
                <a:latin typeface="Times New Roman"/>
                <a:cs typeface="Times New Roman"/>
              </a:rPr>
              <a:t>m</a:t>
            </a:r>
            <a:r>
              <a:rPr sz="1400" b="1" dirty="0">
                <a:latin typeface="Times New Roman"/>
                <a:cs typeface="Times New Roman"/>
              </a:rPr>
              <a:t>p  </a:t>
            </a:r>
            <a:r>
              <a:rPr sz="1400" b="1" spc="-10" dirty="0">
                <a:latin typeface="Times New Roman"/>
                <a:cs typeface="Times New Roman"/>
              </a:rPr>
              <a:t>C</a:t>
            </a:r>
            <a:r>
              <a:rPr sz="1400" b="1" dirty="0">
                <a:latin typeface="Times New Roman"/>
                <a:cs typeface="Times New Roman"/>
              </a:rPr>
              <a:t>ode2</a:t>
            </a:r>
            <a:endParaRPr sz="1400">
              <a:latin typeface="Times New Roman"/>
              <a:cs typeface="Times New Roman"/>
            </a:endParaRPr>
          </a:p>
        </p:txBody>
      </p:sp>
      <p:sp>
        <p:nvSpPr>
          <p:cNvPr id="29" name="object 29"/>
          <p:cNvSpPr/>
          <p:nvPr/>
        </p:nvSpPr>
        <p:spPr>
          <a:xfrm>
            <a:off x="3692271" y="1998472"/>
            <a:ext cx="374015" cy="441325"/>
          </a:xfrm>
          <a:custGeom>
            <a:avLst/>
            <a:gdLst/>
            <a:ahLst/>
            <a:cxnLst/>
            <a:rect l="l" t="t" r="r" b="b"/>
            <a:pathLst>
              <a:path w="374014" h="441325">
                <a:moveTo>
                  <a:pt x="32003" y="306324"/>
                </a:moveTo>
                <a:lnTo>
                  <a:pt x="0" y="440943"/>
                </a:lnTo>
                <a:lnTo>
                  <a:pt x="126873" y="385825"/>
                </a:lnTo>
                <a:lnTo>
                  <a:pt x="114142" y="375157"/>
                </a:lnTo>
                <a:lnTo>
                  <a:pt x="82041" y="375157"/>
                </a:lnTo>
                <a:lnTo>
                  <a:pt x="50418" y="348614"/>
                </a:lnTo>
                <a:lnTo>
                  <a:pt x="63626" y="332824"/>
                </a:lnTo>
                <a:lnTo>
                  <a:pt x="32003" y="306324"/>
                </a:lnTo>
                <a:close/>
              </a:path>
              <a:path w="374014" h="441325">
                <a:moveTo>
                  <a:pt x="63626" y="332824"/>
                </a:moveTo>
                <a:lnTo>
                  <a:pt x="50418" y="348614"/>
                </a:lnTo>
                <a:lnTo>
                  <a:pt x="82041" y="375157"/>
                </a:lnTo>
                <a:lnTo>
                  <a:pt x="95273" y="359345"/>
                </a:lnTo>
                <a:lnTo>
                  <a:pt x="63626" y="332824"/>
                </a:lnTo>
                <a:close/>
              </a:path>
              <a:path w="374014" h="441325">
                <a:moveTo>
                  <a:pt x="95273" y="359345"/>
                </a:moveTo>
                <a:lnTo>
                  <a:pt x="82041" y="375157"/>
                </a:lnTo>
                <a:lnTo>
                  <a:pt x="114142" y="375157"/>
                </a:lnTo>
                <a:lnTo>
                  <a:pt x="95273" y="359345"/>
                </a:lnTo>
                <a:close/>
              </a:path>
              <a:path w="374014" h="441325">
                <a:moveTo>
                  <a:pt x="342011" y="0"/>
                </a:moveTo>
                <a:lnTo>
                  <a:pt x="63626" y="332824"/>
                </a:lnTo>
                <a:lnTo>
                  <a:pt x="95273" y="359345"/>
                </a:lnTo>
                <a:lnTo>
                  <a:pt x="373761" y="26542"/>
                </a:lnTo>
                <a:lnTo>
                  <a:pt x="342011" y="0"/>
                </a:lnTo>
                <a:close/>
              </a:path>
            </a:pathLst>
          </a:custGeom>
          <a:solidFill>
            <a:srgbClr val="000080"/>
          </a:solidFill>
        </p:spPr>
        <p:txBody>
          <a:bodyPr wrap="square" lIns="0" tIns="0" rIns="0" bIns="0" rtlCol="0"/>
          <a:lstStyle/>
          <a:p>
            <a:endParaRPr/>
          </a:p>
        </p:txBody>
      </p:sp>
      <p:sp>
        <p:nvSpPr>
          <p:cNvPr id="30" name="object 30"/>
          <p:cNvSpPr/>
          <p:nvPr/>
        </p:nvSpPr>
        <p:spPr>
          <a:xfrm>
            <a:off x="4378833" y="1985136"/>
            <a:ext cx="374015" cy="441325"/>
          </a:xfrm>
          <a:custGeom>
            <a:avLst/>
            <a:gdLst/>
            <a:ahLst/>
            <a:cxnLst/>
            <a:rect l="l" t="t" r="r" b="b"/>
            <a:pathLst>
              <a:path w="374014" h="441325">
                <a:moveTo>
                  <a:pt x="278470" y="359203"/>
                </a:moveTo>
                <a:lnTo>
                  <a:pt x="246761" y="385699"/>
                </a:lnTo>
                <a:lnTo>
                  <a:pt x="373761" y="440943"/>
                </a:lnTo>
                <a:lnTo>
                  <a:pt x="358091" y="375030"/>
                </a:lnTo>
                <a:lnTo>
                  <a:pt x="291718" y="375030"/>
                </a:lnTo>
                <a:lnTo>
                  <a:pt x="278470" y="359203"/>
                </a:lnTo>
                <a:close/>
              </a:path>
              <a:path w="374014" h="441325">
                <a:moveTo>
                  <a:pt x="310092" y="332781"/>
                </a:moveTo>
                <a:lnTo>
                  <a:pt x="278470" y="359203"/>
                </a:lnTo>
                <a:lnTo>
                  <a:pt x="291718" y="375030"/>
                </a:lnTo>
                <a:lnTo>
                  <a:pt x="323341" y="348614"/>
                </a:lnTo>
                <a:lnTo>
                  <a:pt x="310092" y="332781"/>
                </a:lnTo>
                <a:close/>
              </a:path>
              <a:path w="374014" h="441325">
                <a:moveTo>
                  <a:pt x="341756" y="306324"/>
                </a:moveTo>
                <a:lnTo>
                  <a:pt x="310092" y="332781"/>
                </a:lnTo>
                <a:lnTo>
                  <a:pt x="323341" y="348614"/>
                </a:lnTo>
                <a:lnTo>
                  <a:pt x="291718" y="375030"/>
                </a:lnTo>
                <a:lnTo>
                  <a:pt x="358091" y="375030"/>
                </a:lnTo>
                <a:lnTo>
                  <a:pt x="341756" y="306324"/>
                </a:lnTo>
                <a:close/>
              </a:path>
              <a:path w="374014" h="441325">
                <a:moveTo>
                  <a:pt x="31622" y="0"/>
                </a:moveTo>
                <a:lnTo>
                  <a:pt x="0" y="26542"/>
                </a:lnTo>
                <a:lnTo>
                  <a:pt x="278470" y="359203"/>
                </a:lnTo>
                <a:lnTo>
                  <a:pt x="310092" y="332781"/>
                </a:lnTo>
                <a:lnTo>
                  <a:pt x="31622" y="0"/>
                </a:lnTo>
                <a:close/>
              </a:path>
            </a:pathLst>
          </a:custGeom>
          <a:solidFill>
            <a:srgbClr val="000080"/>
          </a:solidFill>
        </p:spPr>
        <p:txBody>
          <a:bodyPr wrap="square" lIns="0" tIns="0" rIns="0" bIns="0" rtlCol="0"/>
          <a:lstStyle/>
          <a:p>
            <a:endParaRPr/>
          </a:p>
        </p:txBody>
      </p:sp>
      <p:sp>
        <p:nvSpPr>
          <p:cNvPr id="31" name="object 31"/>
          <p:cNvSpPr/>
          <p:nvPr/>
        </p:nvSpPr>
        <p:spPr>
          <a:xfrm>
            <a:off x="3475609" y="1524000"/>
            <a:ext cx="1624330" cy="1524000"/>
          </a:xfrm>
          <a:custGeom>
            <a:avLst/>
            <a:gdLst/>
            <a:ahLst/>
            <a:cxnLst/>
            <a:rect l="l" t="t" r="r" b="b"/>
            <a:pathLst>
              <a:path w="1624329" h="1524000">
                <a:moveTo>
                  <a:pt x="1624076" y="0"/>
                </a:moveTo>
                <a:lnTo>
                  <a:pt x="0" y="1524000"/>
                </a:lnTo>
              </a:path>
            </a:pathLst>
          </a:custGeom>
          <a:ln w="88900">
            <a:solidFill>
              <a:srgbClr val="FF0000"/>
            </a:solidFill>
          </a:ln>
        </p:spPr>
        <p:txBody>
          <a:bodyPr wrap="square" lIns="0" tIns="0" rIns="0" bIns="0" rtlCol="0"/>
          <a:lstStyle/>
          <a:p>
            <a:endParaRPr/>
          </a:p>
        </p:txBody>
      </p:sp>
      <p:sp>
        <p:nvSpPr>
          <p:cNvPr id="32" name="object 32"/>
          <p:cNvSpPr/>
          <p:nvPr/>
        </p:nvSpPr>
        <p:spPr>
          <a:xfrm>
            <a:off x="3536696" y="1371600"/>
            <a:ext cx="1371600" cy="1758950"/>
          </a:xfrm>
          <a:custGeom>
            <a:avLst/>
            <a:gdLst/>
            <a:ahLst/>
            <a:cxnLst/>
            <a:rect l="l" t="t" r="r" b="b"/>
            <a:pathLst>
              <a:path w="1371600" h="1758950">
                <a:moveTo>
                  <a:pt x="0" y="0"/>
                </a:moveTo>
                <a:lnTo>
                  <a:pt x="1371218" y="1758950"/>
                </a:lnTo>
              </a:path>
            </a:pathLst>
          </a:custGeom>
          <a:ln w="88900">
            <a:solidFill>
              <a:srgbClr val="FF0000"/>
            </a:solidFill>
          </a:ln>
        </p:spPr>
        <p:txBody>
          <a:bodyPr wrap="square" lIns="0" tIns="0" rIns="0" bIns="0" rtlCol="0"/>
          <a:lstStyle/>
          <a:p>
            <a:endParaRPr/>
          </a:p>
        </p:txBody>
      </p:sp>
      <p:sp>
        <p:nvSpPr>
          <p:cNvPr id="33" name="object 33"/>
          <p:cNvSpPr txBox="1"/>
          <p:nvPr/>
        </p:nvSpPr>
        <p:spPr>
          <a:xfrm>
            <a:off x="916939" y="5420055"/>
            <a:ext cx="8013065" cy="261610"/>
          </a:xfrm>
          <a:prstGeom prst="rect">
            <a:avLst/>
          </a:prstGeom>
        </p:spPr>
        <p:txBody>
          <a:bodyPr vert="horz" wrap="square" lIns="0" tIns="0" rIns="0" bIns="0" rtlCol="0">
            <a:spAutoFit/>
          </a:bodyPr>
          <a:lstStyle/>
          <a:p>
            <a:pPr marL="12700">
              <a:lnSpc>
                <a:spcPct val="100000"/>
              </a:lnSpc>
            </a:pPr>
            <a:r>
              <a:rPr sz="1700" b="1" spc="-5" dirty="0">
                <a:latin typeface="Arial"/>
                <a:cs typeface="Arial"/>
              </a:rPr>
              <a:t>Display IMG</a:t>
            </a:r>
            <a:r>
              <a:rPr sz="1700" b="1" spc="-5" dirty="0">
                <a:latin typeface="Wingdings"/>
                <a:cs typeface="Wingdings"/>
              </a:rPr>
              <a:t></a:t>
            </a:r>
            <a:r>
              <a:rPr sz="1700" b="1" spc="-5" dirty="0">
                <a:latin typeface="Times New Roman"/>
                <a:cs typeface="Times New Roman"/>
              </a:rPr>
              <a:t> </a:t>
            </a:r>
            <a:r>
              <a:rPr sz="1700" b="1" spc="-5" dirty="0">
                <a:latin typeface="Arial"/>
                <a:cs typeface="Arial"/>
              </a:rPr>
              <a:t>Enterprise Structure</a:t>
            </a:r>
            <a:r>
              <a:rPr sz="1700" b="1" spc="-5" dirty="0">
                <a:latin typeface="Wingdings"/>
                <a:cs typeface="Wingdings"/>
              </a:rPr>
              <a:t></a:t>
            </a:r>
            <a:r>
              <a:rPr sz="1700" b="1" spc="-5" dirty="0">
                <a:latin typeface="Times New Roman"/>
                <a:cs typeface="Times New Roman"/>
              </a:rPr>
              <a:t> </a:t>
            </a:r>
            <a:r>
              <a:rPr sz="1700" b="1" spc="-10" dirty="0">
                <a:latin typeface="Arial"/>
                <a:cs typeface="Arial"/>
              </a:rPr>
              <a:t>Assignment </a:t>
            </a:r>
            <a:r>
              <a:rPr sz="1700" b="1" spc="-5" dirty="0">
                <a:latin typeface="Wingdings"/>
                <a:cs typeface="Wingdings"/>
              </a:rPr>
              <a:t></a:t>
            </a:r>
            <a:r>
              <a:rPr sz="1700" b="1" spc="-5" dirty="0">
                <a:latin typeface="Arial"/>
                <a:cs typeface="Arial"/>
              </a:rPr>
              <a:t>Sales and</a:t>
            </a:r>
            <a:r>
              <a:rPr sz="1700" b="1" spc="240" dirty="0">
                <a:latin typeface="Arial"/>
                <a:cs typeface="Arial"/>
              </a:rPr>
              <a:t> </a:t>
            </a:r>
            <a:r>
              <a:rPr sz="1700" b="1" spc="-5" dirty="0">
                <a:latin typeface="Arial"/>
                <a:cs typeface="Arial"/>
              </a:rPr>
              <a:t>Distribution</a:t>
            </a:r>
            <a:endParaRPr sz="1700" b="1" dirty="0">
              <a:latin typeface="Arial"/>
              <a:cs typeface="Arial"/>
            </a:endParaRPr>
          </a:p>
        </p:txBody>
      </p:sp>
      <p:sp>
        <p:nvSpPr>
          <p:cNvPr id="34" name="object 34"/>
          <p:cNvSpPr/>
          <p:nvPr/>
        </p:nvSpPr>
        <p:spPr>
          <a:xfrm>
            <a:off x="228600" y="5867400"/>
            <a:ext cx="8610600" cy="381000"/>
          </a:xfrm>
          <a:prstGeom prst="rect">
            <a:avLst/>
          </a:prstGeom>
          <a:blipFill>
            <a:blip r:embed="rId9" cstate="print"/>
            <a:stretch>
              <a:fillRect/>
            </a:stretch>
          </a:blipFill>
        </p:spPr>
        <p:txBody>
          <a:bodyPr wrap="square" lIns="0" tIns="0" rIns="0" bIns="0" rtlCol="0"/>
          <a:lstStyle/>
          <a:p>
            <a:endParaRPr/>
          </a:p>
        </p:txBody>
      </p:sp>
      <p:sp>
        <p:nvSpPr>
          <p:cNvPr id="35" name="object 35"/>
          <p:cNvSpPr txBox="1"/>
          <p:nvPr/>
        </p:nvSpPr>
        <p:spPr>
          <a:xfrm>
            <a:off x="228600" y="5867400"/>
            <a:ext cx="8610600" cy="381000"/>
          </a:xfrm>
          <a:prstGeom prst="rect">
            <a:avLst/>
          </a:prstGeom>
          <a:ln w="12700">
            <a:solidFill>
              <a:srgbClr val="000000"/>
            </a:solidFill>
          </a:ln>
        </p:spPr>
        <p:txBody>
          <a:bodyPr vert="horz" wrap="square" lIns="0" tIns="25400" rIns="0" bIns="0" rtlCol="0">
            <a:spAutoFit/>
          </a:bodyPr>
          <a:lstStyle/>
          <a:p>
            <a:pPr marL="106680">
              <a:lnSpc>
                <a:spcPct val="100000"/>
              </a:lnSpc>
              <a:spcBef>
                <a:spcPts val="200"/>
              </a:spcBef>
            </a:pPr>
            <a:r>
              <a:rPr sz="2000" b="1" dirty="0">
                <a:latin typeface="Arial"/>
                <a:cs typeface="Arial"/>
              </a:rPr>
              <a:t>A Sales Organization is assigned to one and </a:t>
            </a:r>
            <a:r>
              <a:rPr sz="2000" b="1" spc="-5" dirty="0">
                <a:latin typeface="Arial"/>
                <a:cs typeface="Arial"/>
              </a:rPr>
              <a:t>only </a:t>
            </a:r>
            <a:r>
              <a:rPr sz="2000" b="1" dirty="0">
                <a:latin typeface="Arial"/>
                <a:cs typeface="Arial"/>
              </a:rPr>
              <a:t>one Company</a:t>
            </a:r>
            <a:r>
              <a:rPr sz="2000" b="1" spc="-235" dirty="0">
                <a:latin typeface="Arial"/>
                <a:cs typeface="Arial"/>
              </a:rPr>
              <a:t> </a:t>
            </a:r>
            <a:r>
              <a:rPr sz="2000" b="1" dirty="0">
                <a:latin typeface="Arial"/>
                <a:cs typeface="Arial"/>
              </a:rPr>
              <a:t>Code</a:t>
            </a:r>
            <a:endParaRPr sz="2000">
              <a:latin typeface="Arial"/>
              <a:cs typeface="Arial"/>
            </a:endParaRPr>
          </a:p>
        </p:txBody>
      </p:sp>
      <p:sp>
        <p:nvSpPr>
          <p:cNvPr id="36" name="object 36"/>
          <p:cNvSpPr/>
          <p:nvPr/>
        </p:nvSpPr>
        <p:spPr>
          <a:xfrm>
            <a:off x="5580126" y="1143000"/>
            <a:ext cx="3335274" cy="4191000"/>
          </a:xfrm>
          <a:prstGeom prst="rect">
            <a:avLst/>
          </a:prstGeom>
          <a:blipFill>
            <a:blip r:embed="rId10" cstate="print"/>
            <a:stretch>
              <a:fillRect/>
            </a:stretch>
          </a:blipFill>
        </p:spPr>
        <p:txBody>
          <a:bodyPr wrap="square" lIns="0" tIns="0" rIns="0" bIns="0" rtlCol="0"/>
          <a:lstStyle/>
          <a:p>
            <a:endParaRPr/>
          </a:p>
        </p:txBody>
      </p:sp>
      <p:sp>
        <p:nvSpPr>
          <p:cNvPr id="37" name="object 37"/>
          <p:cNvSpPr/>
          <p:nvPr/>
        </p:nvSpPr>
        <p:spPr>
          <a:xfrm>
            <a:off x="5565775" y="1128649"/>
            <a:ext cx="3364229" cy="4219575"/>
          </a:xfrm>
          <a:custGeom>
            <a:avLst/>
            <a:gdLst/>
            <a:ahLst/>
            <a:cxnLst/>
            <a:rect l="l" t="t" r="r" b="b"/>
            <a:pathLst>
              <a:path w="3364229" h="4219575">
                <a:moveTo>
                  <a:pt x="0" y="4219575"/>
                </a:moveTo>
                <a:lnTo>
                  <a:pt x="3363976" y="4219575"/>
                </a:lnTo>
                <a:lnTo>
                  <a:pt x="3363976" y="0"/>
                </a:lnTo>
                <a:lnTo>
                  <a:pt x="0" y="0"/>
                </a:lnTo>
                <a:lnTo>
                  <a:pt x="0" y="4219575"/>
                </a:lnTo>
                <a:close/>
              </a:path>
            </a:pathLst>
          </a:custGeom>
          <a:ln w="28575">
            <a:solidFill>
              <a:srgbClr val="000000"/>
            </a:solidFill>
          </a:ln>
        </p:spPr>
        <p:txBody>
          <a:bodyPr wrap="square" lIns="0" tIns="0" rIns="0" bIns="0" rtlCol="0"/>
          <a:lstStyle/>
          <a:p>
            <a:endParaRPr/>
          </a:p>
        </p:txBody>
      </p:sp>
      <p:sp>
        <p:nvSpPr>
          <p:cNvPr id="39" name="object 39"/>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26</a:t>
            </a:fld>
            <a:endParaRPr sz="1200">
              <a:latin typeface="Symbol"/>
              <a:cs typeface="Symbol"/>
            </a:endParaRPr>
          </a:p>
        </p:txBody>
      </p:sp>
      <p:sp>
        <p:nvSpPr>
          <p:cNvPr id="43" name="object 4"/>
          <p:cNvSpPr txBox="1">
            <a:spLocks noGrp="1"/>
          </p:cNvSpPr>
          <p:nvPr>
            <p:ph type="title"/>
          </p:nvPr>
        </p:nvSpPr>
        <p:spPr>
          <a:prstGeom prst="rect">
            <a:avLst/>
          </a:prstGeom>
        </p:spPr>
        <p:txBody>
          <a:bodyPr vert="horz" wrap="square" lIns="0" tIns="0" rIns="0" bIns="0" rtlCol="0">
            <a:spAutoFit/>
          </a:bodyPr>
          <a:lstStyle/>
          <a:p>
            <a:pPr>
              <a:lnSpc>
                <a:spcPct val="100000"/>
              </a:lnSpc>
            </a:pPr>
            <a:r>
              <a:rPr dirty="0" smtClean="0"/>
              <a:t>Assign Sales Organization to Company Code</a:t>
            </a:r>
            <a:endParaRPr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8300" y="1480058"/>
            <a:ext cx="7950834" cy="4537139"/>
          </a:xfrm>
        </p:spPr>
        <p:txBody>
          <a:bodyPr/>
          <a:lstStyle/>
          <a:p>
            <a:pPr marL="355600" marR="5080">
              <a:lnSpc>
                <a:spcPts val="2590"/>
              </a:lnSpc>
              <a:spcBef>
                <a:spcPts val="325"/>
              </a:spcBef>
              <a:tabLst>
                <a:tab pos="354965" algn="l"/>
                <a:tab pos="355600" algn="l"/>
                <a:tab pos="854075" algn="l"/>
                <a:tab pos="1928495" algn="l"/>
                <a:tab pos="4068445" algn="l"/>
                <a:tab pos="4598670" algn="l"/>
                <a:tab pos="5335270" algn="l"/>
                <a:tab pos="6696075" algn="l"/>
                <a:tab pos="7650480" algn="l"/>
              </a:tabLst>
            </a:pPr>
            <a:r>
              <a:rPr lang="en-US" sz="2200" b="0" spc="-5" dirty="0"/>
              <a:t>A	S</a:t>
            </a:r>
            <a:r>
              <a:rPr lang="en-US" sz="2200" b="0" spc="-15" dirty="0"/>
              <a:t>a</a:t>
            </a:r>
            <a:r>
              <a:rPr lang="en-US" sz="2200" b="0" spc="-5" dirty="0"/>
              <a:t>les</a:t>
            </a:r>
            <a:r>
              <a:rPr lang="en-US" sz="2200" b="0" dirty="0"/>
              <a:t>	</a:t>
            </a:r>
            <a:r>
              <a:rPr lang="en-US" sz="2200" b="0" spc="-5" dirty="0"/>
              <a:t>Organiz</a:t>
            </a:r>
            <a:r>
              <a:rPr lang="en-US" sz="2200" b="0" spc="-15" dirty="0"/>
              <a:t>a</a:t>
            </a:r>
            <a:r>
              <a:rPr lang="en-US" sz="2200" b="0" dirty="0"/>
              <a:t>t</a:t>
            </a:r>
            <a:r>
              <a:rPr lang="en-US" sz="2200" b="0" spc="5" dirty="0"/>
              <a:t>i</a:t>
            </a:r>
            <a:r>
              <a:rPr lang="en-US" sz="2200" b="0" dirty="0"/>
              <a:t>on	i</a:t>
            </a:r>
            <a:r>
              <a:rPr lang="en-US" sz="2200" b="0" spc="-5" dirty="0"/>
              <a:t>s</a:t>
            </a:r>
            <a:r>
              <a:rPr lang="en-US" sz="2200" b="0" dirty="0"/>
              <a:t>	</a:t>
            </a:r>
            <a:r>
              <a:rPr lang="en-US" sz="2200" b="0" spc="-5" dirty="0"/>
              <a:t>the</a:t>
            </a:r>
            <a:r>
              <a:rPr lang="en-US" sz="2200" b="0" dirty="0"/>
              <a:t>	</a:t>
            </a:r>
            <a:r>
              <a:rPr lang="en-US" sz="2200" b="0" spc="-15" dirty="0"/>
              <a:t>h</a:t>
            </a:r>
            <a:r>
              <a:rPr lang="en-US" sz="2200" b="0" spc="-5" dirty="0"/>
              <a:t>ighest</a:t>
            </a:r>
            <a:r>
              <a:rPr lang="en-US" sz="2200" b="0" dirty="0"/>
              <a:t>	</a:t>
            </a:r>
            <a:r>
              <a:rPr lang="en-US" sz="2200" b="0" spc="-5" dirty="0"/>
              <a:t>level</a:t>
            </a:r>
            <a:r>
              <a:rPr lang="en-US" sz="2200" b="0" dirty="0"/>
              <a:t>	</a:t>
            </a:r>
            <a:r>
              <a:rPr lang="en-US" sz="2200" b="0" spc="-5" dirty="0"/>
              <a:t>of  organizational </a:t>
            </a:r>
            <a:r>
              <a:rPr lang="en-US" sz="2200" b="0" dirty="0"/>
              <a:t>Unit in</a:t>
            </a:r>
            <a:r>
              <a:rPr lang="en-US" sz="2200" b="0" spc="-95" dirty="0"/>
              <a:t> </a:t>
            </a:r>
            <a:r>
              <a:rPr lang="en-US" sz="2200" b="0" spc="-10" dirty="0"/>
              <a:t>SD</a:t>
            </a:r>
          </a:p>
          <a:p>
            <a:pPr marL="355600">
              <a:lnSpc>
                <a:spcPts val="2735"/>
              </a:lnSpc>
              <a:spcBef>
                <a:spcPts val="250"/>
              </a:spcBef>
              <a:tabLst>
                <a:tab pos="354965" algn="l"/>
                <a:tab pos="355600" algn="l"/>
              </a:tabLst>
            </a:pPr>
            <a:r>
              <a:rPr lang="en-US" sz="2200" b="0" dirty="0"/>
              <a:t>A </a:t>
            </a:r>
            <a:r>
              <a:rPr lang="en-US" sz="2200" b="0" spc="-10" dirty="0"/>
              <a:t>new Sales </a:t>
            </a:r>
            <a:r>
              <a:rPr lang="en-US" sz="2200" b="0" spc="-5" dirty="0"/>
              <a:t>Organization should </a:t>
            </a:r>
            <a:r>
              <a:rPr lang="en-US" sz="2200" b="0" spc="-10" dirty="0"/>
              <a:t>always </a:t>
            </a:r>
            <a:r>
              <a:rPr lang="en-US" sz="2200" b="0" spc="-5" dirty="0"/>
              <a:t>be </a:t>
            </a:r>
            <a:r>
              <a:rPr lang="en-US" sz="2200" b="0" spc="125" dirty="0"/>
              <a:t> </a:t>
            </a:r>
            <a:r>
              <a:rPr lang="en-US" sz="2200" b="0" spc="-5" dirty="0" smtClean="0"/>
              <a:t>created by </a:t>
            </a:r>
            <a:r>
              <a:rPr lang="en-US" sz="2200" b="0" spc="-10" dirty="0"/>
              <a:t>copying </a:t>
            </a:r>
            <a:r>
              <a:rPr lang="en-US" sz="2200" b="0" spc="-5" dirty="0"/>
              <a:t>an existing</a:t>
            </a:r>
            <a:r>
              <a:rPr lang="en-US" sz="2200" b="0" spc="-25" dirty="0"/>
              <a:t> </a:t>
            </a:r>
            <a:r>
              <a:rPr lang="en-US" sz="2200" b="0" spc="-5" dirty="0" smtClean="0"/>
              <a:t>one</a:t>
            </a:r>
          </a:p>
          <a:p>
            <a:pPr marL="355600">
              <a:lnSpc>
                <a:spcPts val="2735"/>
              </a:lnSpc>
            </a:pPr>
            <a:r>
              <a:rPr lang="en-US" sz="2200" b="0" spc="-5" dirty="0" smtClean="0"/>
              <a:t>Sales Organization has address, calendar, statistical currency and controls Rebate Processing and Inter Company Sales</a:t>
            </a:r>
            <a:endParaRPr lang="en-US" sz="2200" b="0" spc="-5" dirty="0"/>
          </a:p>
          <a:p>
            <a:pPr marL="355600">
              <a:lnSpc>
                <a:spcPts val="2735"/>
              </a:lnSpc>
            </a:pPr>
            <a:r>
              <a:rPr lang="en-US" sz="2200" b="0" spc="-5" dirty="0" smtClean="0"/>
              <a:t>Assigning Sales Org to Company Code establishes the link between SD and FI</a:t>
            </a:r>
          </a:p>
          <a:p>
            <a:pPr marL="355600">
              <a:lnSpc>
                <a:spcPts val="2735"/>
              </a:lnSpc>
            </a:pPr>
            <a:r>
              <a:rPr lang="en-US" sz="2200" b="0" spc="-5" dirty="0" smtClean="0"/>
              <a:t>Reports can be generated at Sales Organization Level</a:t>
            </a:r>
          </a:p>
          <a:p>
            <a:pPr marL="12700" indent="0">
              <a:lnSpc>
                <a:spcPts val="2735"/>
              </a:lnSpc>
              <a:buNone/>
            </a:pPr>
            <a:endParaRPr lang="en-US" spc="-5" dirty="0" smtClean="0"/>
          </a:p>
          <a:p>
            <a:pPr marL="12700" indent="0">
              <a:lnSpc>
                <a:spcPts val="2735"/>
              </a:lnSpc>
              <a:buNone/>
            </a:pPr>
            <a:endParaRPr lang="en-US" spc="-5" dirty="0"/>
          </a:p>
          <a:p>
            <a:endParaRPr lang="en-US" dirty="0"/>
          </a:p>
        </p:txBody>
      </p:sp>
      <p:sp>
        <p:nvSpPr>
          <p:cNvPr id="4" name="object 7"/>
          <p:cNvSpPr txBox="1">
            <a:spLocks noGrp="1"/>
          </p:cNvSpPr>
          <p:nvPr>
            <p:ph type="title"/>
          </p:nvPr>
        </p:nvSpPr>
        <p:spPr>
          <a:prstGeom prst="rect">
            <a:avLst/>
          </a:prstGeom>
        </p:spPr>
        <p:txBody>
          <a:bodyPr vert="horz" wrap="square" lIns="0" tIns="0" rIns="0" bIns="0" rtlCol="0">
            <a:spAutoFit/>
          </a:bodyPr>
          <a:lstStyle/>
          <a:p>
            <a:r>
              <a:rPr dirty="0"/>
              <a:t>Sales Organization - Uses</a:t>
            </a:r>
          </a:p>
        </p:txBody>
      </p:sp>
    </p:spTree>
    <p:extLst>
      <p:ext uri="{BB962C8B-B14F-4D97-AF65-F5344CB8AC3E}">
        <p14:creationId xmlns:p14="http://schemas.microsoft.com/office/powerpoint/2010/main" xmlns="" val="152626689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7833359" y="260604"/>
            <a:ext cx="886968"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prstGeom prst="rect">
            <a:avLst/>
          </a:prstGeom>
        </p:spPr>
        <p:txBody>
          <a:bodyPr vert="horz" wrap="square" lIns="0" tIns="0" rIns="0" bIns="0" rtlCol="0">
            <a:spAutoFit/>
          </a:bodyPr>
          <a:lstStyle/>
          <a:p>
            <a:pPr>
              <a:lnSpc>
                <a:spcPct val="100000"/>
              </a:lnSpc>
            </a:pPr>
            <a:r>
              <a:rPr dirty="0"/>
              <a:t>Define Distributional Channel</a:t>
            </a:r>
          </a:p>
        </p:txBody>
      </p:sp>
      <p:sp>
        <p:nvSpPr>
          <p:cNvPr id="5" name="object 5"/>
          <p:cNvSpPr txBox="1"/>
          <p:nvPr/>
        </p:nvSpPr>
        <p:spPr>
          <a:xfrm>
            <a:off x="817067" y="5316912"/>
            <a:ext cx="7814666" cy="276999"/>
          </a:xfrm>
          <a:prstGeom prst="rect">
            <a:avLst/>
          </a:prstGeom>
        </p:spPr>
        <p:txBody>
          <a:bodyPr vert="horz" wrap="square" lIns="0" tIns="0" rIns="0" bIns="0" rtlCol="0">
            <a:spAutoFit/>
          </a:bodyPr>
          <a:lstStyle/>
          <a:p>
            <a:pPr marL="12700">
              <a:lnSpc>
                <a:spcPct val="100000"/>
              </a:lnSpc>
            </a:pPr>
            <a:r>
              <a:rPr b="1" spc="-5" dirty="0">
                <a:latin typeface="Arial"/>
                <a:cs typeface="Arial"/>
              </a:rPr>
              <a:t>Display IMG</a:t>
            </a:r>
            <a:r>
              <a:rPr b="1" spc="-5" dirty="0">
                <a:latin typeface="Wingdings"/>
                <a:cs typeface="Wingdings"/>
              </a:rPr>
              <a:t></a:t>
            </a:r>
            <a:r>
              <a:rPr b="1" spc="-5" dirty="0">
                <a:latin typeface="Times New Roman"/>
                <a:cs typeface="Times New Roman"/>
              </a:rPr>
              <a:t> </a:t>
            </a:r>
            <a:r>
              <a:rPr b="1" spc="-5" dirty="0">
                <a:latin typeface="Arial"/>
                <a:cs typeface="Arial"/>
              </a:rPr>
              <a:t>Enterprise Structure</a:t>
            </a:r>
            <a:r>
              <a:rPr b="1" spc="-5" dirty="0">
                <a:latin typeface="Wingdings"/>
                <a:cs typeface="Wingdings"/>
              </a:rPr>
              <a:t></a:t>
            </a:r>
            <a:r>
              <a:rPr b="1" spc="-5" dirty="0">
                <a:latin typeface="Times New Roman"/>
                <a:cs typeface="Times New Roman"/>
              </a:rPr>
              <a:t> </a:t>
            </a:r>
            <a:r>
              <a:rPr b="1" spc="-5" dirty="0">
                <a:latin typeface="Arial"/>
                <a:cs typeface="Arial"/>
              </a:rPr>
              <a:t>Definition</a:t>
            </a:r>
            <a:r>
              <a:rPr b="1" spc="-5" dirty="0">
                <a:latin typeface="Wingdings"/>
                <a:cs typeface="Wingdings"/>
              </a:rPr>
              <a:t></a:t>
            </a:r>
            <a:r>
              <a:rPr b="1" spc="-5" dirty="0">
                <a:latin typeface="Arial"/>
                <a:cs typeface="Arial"/>
              </a:rPr>
              <a:t>Sales and</a:t>
            </a:r>
            <a:r>
              <a:rPr b="1" spc="245" dirty="0">
                <a:latin typeface="Arial"/>
                <a:cs typeface="Arial"/>
              </a:rPr>
              <a:t> </a:t>
            </a:r>
            <a:r>
              <a:rPr b="1" spc="-5" dirty="0">
                <a:latin typeface="Arial"/>
                <a:cs typeface="Arial"/>
              </a:rPr>
              <a:t>Distribution</a:t>
            </a:r>
            <a:endParaRPr dirty="0">
              <a:latin typeface="Arial"/>
              <a:cs typeface="Arial"/>
            </a:endParaRPr>
          </a:p>
        </p:txBody>
      </p:sp>
      <p:sp>
        <p:nvSpPr>
          <p:cNvPr id="6" name="object 6"/>
          <p:cNvSpPr/>
          <p:nvPr/>
        </p:nvSpPr>
        <p:spPr>
          <a:xfrm>
            <a:off x="228600" y="5867400"/>
            <a:ext cx="8610600" cy="381000"/>
          </a:xfrm>
          <a:prstGeom prst="rect">
            <a:avLst/>
          </a:prstGeom>
          <a:blipFill>
            <a:blip r:embed="rId3" cstate="print"/>
            <a:stretch>
              <a:fillRect/>
            </a:stretch>
          </a:blipFill>
        </p:spPr>
        <p:txBody>
          <a:bodyPr wrap="square" lIns="0" tIns="0" rIns="0" bIns="0" rtlCol="0"/>
          <a:lstStyle/>
          <a:p>
            <a:endParaRPr/>
          </a:p>
        </p:txBody>
      </p:sp>
      <p:sp>
        <p:nvSpPr>
          <p:cNvPr id="7" name="object 7"/>
          <p:cNvSpPr txBox="1"/>
          <p:nvPr/>
        </p:nvSpPr>
        <p:spPr>
          <a:xfrm>
            <a:off x="228600" y="5867400"/>
            <a:ext cx="8610600" cy="381000"/>
          </a:xfrm>
          <a:prstGeom prst="rect">
            <a:avLst/>
          </a:prstGeom>
          <a:ln w="12700">
            <a:solidFill>
              <a:srgbClr val="000000"/>
            </a:solidFill>
          </a:ln>
        </p:spPr>
        <p:txBody>
          <a:bodyPr vert="horz" wrap="square" lIns="0" tIns="25400" rIns="0" bIns="0" rtlCol="0">
            <a:spAutoFit/>
          </a:bodyPr>
          <a:lstStyle/>
          <a:p>
            <a:pPr marL="107950">
              <a:lnSpc>
                <a:spcPct val="100000"/>
              </a:lnSpc>
              <a:spcBef>
                <a:spcPts val="200"/>
              </a:spcBef>
            </a:pPr>
            <a:r>
              <a:rPr sz="2000" b="1" dirty="0">
                <a:latin typeface="Arial"/>
                <a:cs typeface="Arial"/>
              </a:rPr>
              <a:t>A Distribution Channel is just a text </a:t>
            </a:r>
            <a:r>
              <a:rPr sz="2000" b="1" spc="-5" dirty="0">
                <a:latin typeface="Arial"/>
                <a:cs typeface="Arial"/>
              </a:rPr>
              <a:t>value </a:t>
            </a:r>
            <a:r>
              <a:rPr sz="2000" b="1" dirty="0">
                <a:latin typeface="Arial"/>
                <a:cs typeface="Arial"/>
              </a:rPr>
              <a:t>and </a:t>
            </a:r>
            <a:r>
              <a:rPr sz="2000" b="1" spc="-5" dirty="0">
                <a:latin typeface="Arial"/>
                <a:cs typeface="Arial"/>
              </a:rPr>
              <a:t>has </a:t>
            </a:r>
            <a:r>
              <a:rPr sz="2000" b="1" dirty="0">
                <a:latin typeface="Arial"/>
                <a:cs typeface="Arial"/>
              </a:rPr>
              <a:t>no controls</a:t>
            </a:r>
            <a:r>
              <a:rPr sz="2000" b="1" spc="-250" dirty="0">
                <a:latin typeface="Arial"/>
                <a:cs typeface="Arial"/>
              </a:rPr>
              <a:t> </a:t>
            </a:r>
            <a:r>
              <a:rPr sz="2000" b="1" dirty="0">
                <a:latin typeface="Arial"/>
                <a:cs typeface="Arial"/>
              </a:rPr>
              <a:t>behind</a:t>
            </a:r>
            <a:endParaRPr sz="2000">
              <a:latin typeface="Arial"/>
              <a:cs typeface="Arial"/>
            </a:endParaRPr>
          </a:p>
        </p:txBody>
      </p:sp>
      <p:sp>
        <p:nvSpPr>
          <p:cNvPr id="8" name="object 8"/>
          <p:cNvSpPr/>
          <p:nvPr/>
        </p:nvSpPr>
        <p:spPr>
          <a:xfrm>
            <a:off x="1905000" y="1295400"/>
            <a:ext cx="5029200" cy="3733800"/>
          </a:xfrm>
          <a:prstGeom prst="rect">
            <a:avLst/>
          </a:prstGeom>
          <a:blipFill>
            <a:blip r:embed="rId4" cstate="print"/>
            <a:stretch>
              <a:fillRect/>
            </a:stretch>
          </a:blipFill>
        </p:spPr>
        <p:txBody>
          <a:bodyPr wrap="square" lIns="0" tIns="0" rIns="0" bIns="0" rtlCol="0"/>
          <a:lstStyle/>
          <a:p>
            <a:endParaRPr/>
          </a:p>
        </p:txBody>
      </p:sp>
      <p:sp>
        <p:nvSpPr>
          <p:cNvPr id="9" name="object 9"/>
          <p:cNvSpPr/>
          <p:nvPr/>
        </p:nvSpPr>
        <p:spPr>
          <a:xfrm>
            <a:off x="1890648" y="1281049"/>
            <a:ext cx="5057775" cy="3762375"/>
          </a:xfrm>
          <a:custGeom>
            <a:avLst/>
            <a:gdLst/>
            <a:ahLst/>
            <a:cxnLst/>
            <a:rect l="l" t="t" r="r" b="b"/>
            <a:pathLst>
              <a:path w="5057775" h="3762375">
                <a:moveTo>
                  <a:pt x="0" y="3762375"/>
                </a:moveTo>
                <a:lnTo>
                  <a:pt x="5057775" y="3762375"/>
                </a:lnTo>
                <a:lnTo>
                  <a:pt x="5057775" y="0"/>
                </a:lnTo>
                <a:lnTo>
                  <a:pt x="0" y="0"/>
                </a:lnTo>
                <a:lnTo>
                  <a:pt x="0" y="3762375"/>
                </a:lnTo>
                <a:close/>
              </a:path>
            </a:pathLst>
          </a:custGeom>
          <a:ln w="28575">
            <a:solidFill>
              <a:srgbClr val="000000"/>
            </a:solidFill>
          </a:ln>
        </p:spPr>
        <p:txBody>
          <a:bodyPr wrap="square" lIns="0" tIns="0" rIns="0" bIns="0" rtlCol="0"/>
          <a:lstStyle/>
          <a:p>
            <a:endParaRPr/>
          </a:p>
        </p:txBody>
      </p:sp>
      <p:sp>
        <p:nvSpPr>
          <p:cNvPr id="10" name="object 10"/>
          <p:cNvSpPr/>
          <p:nvPr/>
        </p:nvSpPr>
        <p:spPr>
          <a:xfrm>
            <a:off x="381000" y="1524000"/>
            <a:ext cx="2003425" cy="1114425"/>
          </a:xfrm>
          <a:custGeom>
            <a:avLst/>
            <a:gdLst/>
            <a:ahLst/>
            <a:cxnLst/>
            <a:rect l="l" t="t" r="r" b="b"/>
            <a:pathLst>
              <a:path w="2003425" h="1114425">
                <a:moveTo>
                  <a:pt x="1143000" y="685800"/>
                </a:moveTo>
                <a:lnTo>
                  <a:pt x="800100" y="685800"/>
                </a:lnTo>
                <a:lnTo>
                  <a:pt x="2003425" y="1114425"/>
                </a:lnTo>
                <a:lnTo>
                  <a:pt x="1143000" y="685800"/>
                </a:lnTo>
                <a:close/>
              </a:path>
              <a:path w="2003425" h="1114425">
                <a:moveTo>
                  <a:pt x="1257300" y="0"/>
                </a:moveTo>
                <a:lnTo>
                  <a:pt x="114300" y="0"/>
                </a:lnTo>
                <a:lnTo>
                  <a:pt x="69812" y="8983"/>
                </a:lnTo>
                <a:lnTo>
                  <a:pt x="33480" y="33480"/>
                </a:lnTo>
                <a:lnTo>
                  <a:pt x="8983" y="69812"/>
                </a:lnTo>
                <a:lnTo>
                  <a:pt x="0" y="114300"/>
                </a:lnTo>
                <a:lnTo>
                  <a:pt x="0" y="571500"/>
                </a:lnTo>
                <a:lnTo>
                  <a:pt x="8983" y="615987"/>
                </a:lnTo>
                <a:lnTo>
                  <a:pt x="33480" y="652319"/>
                </a:lnTo>
                <a:lnTo>
                  <a:pt x="69812" y="676816"/>
                </a:lnTo>
                <a:lnTo>
                  <a:pt x="114300" y="685800"/>
                </a:lnTo>
                <a:lnTo>
                  <a:pt x="1257300" y="685800"/>
                </a:lnTo>
                <a:lnTo>
                  <a:pt x="1301787" y="676816"/>
                </a:lnTo>
                <a:lnTo>
                  <a:pt x="1338119" y="652319"/>
                </a:lnTo>
                <a:lnTo>
                  <a:pt x="1362616" y="615987"/>
                </a:lnTo>
                <a:lnTo>
                  <a:pt x="1371600" y="571500"/>
                </a:lnTo>
                <a:lnTo>
                  <a:pt x="1371600" y="114300"/>
                </a:lnTo>
                <a:lnTo>
                  <a:pt x="1362616" y="69812"/>
                </a:lnTo>
                <a:lnTo>
                  <a:pt x="1338119" y="33480"/>
                </a:lnTo>
                <a:lnTo>
                  <a:pt x="1301787" y="8983"/>
                </a:lnTo>
                <a:lnTo>
                  <a:pt x="1257300" y="0"/>
                </a:lnTo>
                <a:close/>
              </a:path>
            </a:pathLst>
          </a:custGeom>
          <a:solidFill>
            <a:srgbClr val="FFFF99"/>
          </a:solidFill>
        </p:spPr>
        <p:txBody>
          <a:bodyPr wrap="square" lIns="0" tIns="0" rIns="0" bIns="0" rtlCol="0"/>
          <a:lstStyle/>
          <a:p>
            <a:endParaRPr/>
          </a:p>
        </p:txBody>
      </p:sp>
      <p:sp>
        <p:nvSpPr>
          <p:cNvPr id="11" name="object 11"/>
          <p:cNvSpPr/>
          <p:nvPr/>
        </p:nvSpPr>
        <p:spPr>
          <a:xfrm>
            <a:off x="381000" y="1524000"/>
            <a:ext cx="2003425" cy="1114425"/>
          </a:xfrm>
          <a:custGeom>
            <a:avLst/>
            <a:gdLst/>
            <a:ahLst/>
            <a:cxnLst/>
            <a:rect l="l" t="t" r="r" b="b"/>
            <a:pathLst>
              <a:path w="2003425" h="1114425">
                <a:moveTo>
                  <a:pt x="0" y="114300"/>
                </a:moveTo>
                <a:lnTo>
                  <a:pt x="8983" y="69812"/>
                </a:lnTo>
                <a:lnTo>
                  <a:pt x="33480" y="33480"/>
                </a:lnTo>
                <a:lnTo>
                  <a:pt x="69812" y="8983"/>
                </a:lnTo>
                <a:lnTo>
                  <a:pt x="114300" y="0"/>
                </a:lnTo>
                <a:lnTo>
                  <a:pt x="800100" y="0"/>
                </a:lnTo>
                <a:lnTo>
                  <a:pt x="1143000" y="0"/>
                </a:lnTo>
                <a:lnTo>
                  <a:pt x="1257300" y="0"/>
                </a:lnTo>
                <a:lnTo>
                  <a:pt x="1301787" y="8983"/>
                </a:lnTo>
                <a:lnTo>
                  <a:pt x="1338119" y="33480"/>
                </a:lnTo>
                <a:lnTo>
                  <a:pt x="1362616" y="69812"/>
                </a:lnTo>
                <a:lnTo>
                  <a:pt x="1371600" y="114300"/>
                </a:lnTo>
                <a:lnTo>
                  <a:pt x="1371600" y="400050"/>
                </a:lnTo>
                <a:lnTo>
                  <a:pt x="1371600" y="571500"/>
                </a:lnTo>
                <a:lnTo>
                  <a:pt x="1362616" y="615987"/>
                </a:lnTo>
                <a:lnTo>
                  <a:pt x="1338119" y="652319"/>
                </a:lnTo>
                <a:lnTo>
                  <a:pt x="1301787" y="676816"/>
                </a:lnTo>
                <a:lnTo>
                  <a:pt x="1257300" y="685800"/>
                </a:lnTo>
                <a:lnTo>
                  <a:pt x="1143000" y="685800"/>
                </a:lnTo>
                <a:lnTo>
                  <a:pt x="2003425" y="1114425"/>
                </a:lnTo>
                <a:lnTo>
                  <a:pt x="800100" y="685800"/>
                </a:lnTo>
                <a:lnTo>
                  <a:pt x="114300" y="685800"/>
                </a:lnTo>
                <a:lnTo>
                  <a:pt x="69812" y="676816"/>
                </a:lnTo>
                <a:lnTo>
                  <a:pt x="33480" y="652319"/>
                </a:lnTo>
                <a:lnTo>
                  <a:pt x="8983" y="615987"/>
                </a:lnTo>
                <a:lnTo>
                  <a:pt x="0" y="571500"/>
                </a:lnTo>
                <a:lnTo>
                  <a:pt x="0" y="400050"/>
                </a:lnTo>
                <a:lnTo>
                  <a:pt x="0" y="114300"/>
                </a:lnTo>
                <a:close/>
              </a:path>
            </a:pathLst>
          </a:custGeom>
          <a:ln w="12700">
            <a:solidFill>
              <a:srgbClr val="FFFFFF"/>
            </a:solidFill>
          </a:ln>
        </p:spPr>
        <p:txBody>
          <a:bodyPr wrap="square" lIns="0" tIns="0" rIns="0" bIns="0" rtlCol="0"/>
          <a:lstStyle/>
          <a:p>
            <a:endParaRPr/>
          </a:p>
        </p:txBody>
      </p:sp>
      <p:sp>
        <p:nvSpPr>
          <p:cNvPr id="12" name="object 12"/>
          <p:cNvSpPr txBox="1"/>
          <p:nvPr/>
        </p:nvSpPr>
        <p:spPr>
          <a:xfrm>
            <a:off x="507593" y="1597914"/>
            <a:ext cx="1117600" cy="438784"/>
          </a:xfrm>
          <a:prstGeom prst="rect">
            <a:avLst/>
          </a:prstGeom>
        </p:spPr>
        <p:txBody>
          <a:bodyPr vert="horz" wrap="square" lIns="0" tIns="0" rIns="0" bIns="0" rtlCol="0">
            <a:spAutoFit/>
          </a:bodyPr>
          <a:lstStyle/>
          <a:p>
            <a:pPr marL="12700" marR="5080" indent="312420">
              <a:lnSpc>
                <a:spcPct val="100000"/>
              </a:lnSpc>
            </a:pPr>
            <a:r>
              <a:rPr sz="1400" b="1" dirty="0">
                <a:latin typeface="Times New Roman"/>
                <a:cs typeface="Times New Roman"/>
              </a:rPr>
              <a:t>Alpha  </a:t>
            </a:r>
            <a:r>
              <a:rPr sz="1400" b="1" spc="-5" dirty="0">
                <a:latin typeface="Times New Roman"/>
                <a:cs typeface="Times New Roman"/>
              </a:rPr>
              <a:t>numeric</a:t>
            </a:r>
            <a:r>
              <a:rPr sz="1400" b="1" spc="-70" dirty="0">
                <a:latin typeface="Times New Roman"/>
                <a:cs typeface="Times New Roman"/>
              </a:rPr>
              <a:t> </a:t>
            </a:r>
            <a:r>
              <a:rPr sz="1400" b="1" dirty="0">
                <a:latin typeface="Times New Roman"/>
                <a:cs typeface="Times New Roman"/>
              </a:rPr>
              <a:t>codes</a:t>
            </a:r>
            <a:endParaRPr sz="1400">
              <a:latin typeface="Times New Roman"/>
              <a:cs typeface="Times New Roman"/>
            </a:endParaRPr>
          </a:p>
        </p:txBody>
      </p:sp>
      <p:sp>
        <p:nvSpPr>
          <p:cNvPr id="14" name="object 14"/>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28</a:t>
            </a:fld>
            <a:endParaRPr sz="1200">
              <a:latin typeface="Symbol"/>
              <a:cs typeface="Symbol"/>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8590788" y="321563"/>
            <a:ext cx="553211" cy="582167"/>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198183" y="86613"/>
            <a:ext cx="9100186" cy="984885"/>
          </a:xfrm>
          <a:prstGeom prst="rect">
            <a:avLst/>
          </a:prstGeom>
        </p:spPr>
        <p:txBody>
          <a:bodyPr vert="horz" wrap="square" lIns="0" tIns="0" rIns="0" bIns="0" rtlCol="0">
            <a:spAutoFit/>
          </a:bodyPr>
          <a:lstStyle/>
          <a:p>
            <a:r>
              <a:rPr dirty="0"/>
              <a:t>Assign Distribution channel to Sales Organization</a:t>
            </a:r>
          </a:p>
        </p:txBody>
      </p:sp>
      <p:sp>
        <p:nvSpPr>
          <p:cNvPr id="5" name="object 5"/>
          <p:cNvSpPr/>
          <p:nvPr/>
        </p:nvSpPr>
        <p:spPr>
          <a:xfrm>
            <a:off x="6777101" y="1219200"/>
            <a:ext cx="2209800" cy="2209800"/>
          </a:xfrm>
          <a:custGeom>
            <a:avLst/>
            <a:gdLst/>
            <a:ahLst/>
            <a:cxnLst/>
            <a:rect l="l" t="t" r="r" b="b"/>
            <a:pathLst>
              <a:path w="2209800" h="2209800">
                <a:moveTo>
                  <a:pt x="1104900" y="0"/>
                </a:moveTo>
                <a:lnTo>
                  <a:pt x="1056970" y="1020"/>
                </a:lnTo>
                <a:lnTo>
                  <a:pt x="1009562" y="4055"/>
                </a:lnTo>
                <a:lnTo>
                  <a:pt x="962718" y="9062"/>
                </a:lnTo>
                <a:lnTo>
                  <a:pt x="916478" y="16001"/>
                </a:lnTo>
                <a:lnTo>
                  <a:pt x="870883" y="24828"/>
                </a:lnTo>
                <a:lnTo>
                  <a:pt x="825977" y="35504"/>
                </a:lnTo>
                <a:lnTo>
                  <a:pt x="781799" y="47987"/>
                </a:lnTo>
                <a:lnTo>
                  <a:pt x="738392" y="62235"/>
                </a:lnTo>
                <a:lnTo>
                  <a:pt x="695796" y="78207"/>
                </a:lnTo>
                <a:lnTo>
                  <a:pt x="654054" y="95861"/>
                </a:lnTo>
                <a:lnTo>
                  <a:pt x="613207" y="115155"/>
                </a:lnTo>
                <a:lnTo>
                  <a:pt x="573295" y="136050"/>
                </a:lnTo>
                <a:lnTo>
                  <a:pt x="534362" y="158502"/>
                </a:lnTo>
                <a:lnTo>
                  <a:pt x="496447" y="182471"/>
                </a:lnTo>
                <a:lnTo>
                  <a:pt x="459593" y="207914"/>
                </a:lnTo>
                <a:lnTo>
                  <a:pt x="423841" y="234792"/>
                </a:lnTo>
                <a:lnTo>
                  <a:pt x="389232" y="263062"/>
                </a:lnTo>
                <a:lnTo>
                  <a:pt x="355809" y="292682"/>
                </a:lnTo>
                <a:lnTo>
                  <a:pt x="323611" y="323611"/>
                </a:lnTo>
                <a:lnTo>
                  <a:pt x="292682" y="355809"/>
                </a:lnTo>
                <a:lnTo>
                  <a:pt x="263062" y="389232"/>
                </a:lnTo>
                <a:lnTo>
                  <a:pt x="234792" y="423841"/>
                </a:lnTo>
                <a:lnTo>
                  <a:pt x="207914" y="459593"/>
                </a:lnTo>
                <a:lnTo>
                  <a:pt x="182471" y="496447"/>
                </a:lnTo>
                <a:lnTo>
                  <a:pt x="158502" y="534362"/>
                </a:lnTo>
                <a:lnTo>
                  <a:pt x="136050" y="573295"/>
                </a:lnTo>
                <a:lnTo>
                  <a:pt x="115155" y="613207"/>
                </a:lnTo>
                <a:lnTo>
                  <a:pt x="95861" y="654054"/>
                </a:lnTo>
                <a:lnTo>
                  <a:pt x="78207" y="695796"/>
                </a:lnTo>
                <a:lnTo>
                  <a:pt x="62235" y="738392"/>
                </a:lnTo>
                <a:lnTo>
                  <a:pt x="47987" y="781799"/>
                </a:lnTo>
                <a:lnTo>
                  <a:pt x="35504" y="825977"/>
                </a:lnTo>
                <a:lnTo>
                  <a:pt x="24828" y="870883"/>
                </a:lnTo>
                <a:lnTo>
                  <a:pt x="16001" y="916478"/>
                </a:lnTo>
                <a:lnTo>
                  <a:pt x="9062" y="962718"/>
                </a:lnTo>
                <a:lnTo>
                  <a:pt x="4055" y="1009562"/>
                </a:lnTo>
                <a:lnTo>
                  <a:pt x="1020" y="1056970"/>
                </a:lnTo>
                <a:lnTo>
                  <a:pt x="0" y="1104900"/>
                </a:lnTo>
                <a:lnTo>
                  <a:pt x="1020" y="1152829"/>
                </a:lnTo>
                <a:lnTo>
                  <a:pt x="4055" y="1200237"/>
                </a:lnTo>
                <a:lnTo>
                  <a:pt x="9062" y="1247081"/>
                </a:lnTo>
                <a:lnTo>
                  <a:pt x="16001" y="1293321"/>
                </a:lnTo>
                <a:lnTo>
                  <a:pt x="24828" y="1338916"/>
                </a:lnTo>
                <a:lnTo>
                  <a:pt x="35504" y="1383822"/>
                </a:lnTo>
                <a:lnTo>
                  <a:pt x="47987" y="1428000"/>
                </a:lnTo>
                <a:lnTo>
                  <a:pt x="62235" y="1471407"/>
                </a:lnTo>
                <a:lnTo>
                  <a:pt x="78207" y="1514003"/>
                </a:lnTo>
                <a:lnTo>
                  <a:pt x="95861" y="1555745"/>
                </a:lnTo>
                <a:lnTo>
                  <a:pt x="115155" y="1596592"/>
                </a:lnTo>
                <a:lnTo>
                  <a:pt x="136050" y="1636504"/>
                </a:lnTo>
                <a:lnTo>
                  <a:pt x="158502" y="1675437"/>
                </a:lnTo>
                <a:lnTo>
                  <a:pt x="182471" y="1713352"/>
                </a:lnTo>
                <a:lnTo>
                  <a:pt x="207914" y="1750206"/>
                </a:lnTo>
                <a:lnTo>
                  <a:pt x="234792" y="1785958"/>
                </a:lnTo>
                <a:lnTo>
                  <a:pt x="263062" y="1820567"/>
                </a:lnTo>
                <a:lnTo>
                  <a:pt x="292682" y="1853990"/>
                </a:lnTo>
                <a:lnTo>
                  <a:pt x="323611" y="1886188"/>
                </a:lnTo>
                <a:lnTo>
                  <a:pt x="355809" y="1917117"/>
                </a:lnTo>
                <a:lnTo>
                  <a:pt x="389232" y="1946737"/>
                </a:lnTo>
                <a:lnTo>
                  <a:pt x="423841" y="1975007"/>
                </a:lnTo>
                <a:lnTo>
                  <a:pt x="459593" y="2001885"/>
                </a:lnTo>
                <a:lnTo>
                  <a:pt x="496447" y="2027328"/>
                </a:lnTo>
                <a:lnTo>
                  <a:pt x="534362" y="2051297"/>
                </a:lnTo>
                <a:lnTo>
                  <a:pt x="573295" y="2073749"/>
                </a:lnTo>
                <a:lnTo>
                  <a:pt x="613207" y="2094644"/>
                </a:lnTo>
                <a:lnTo>
                  <a:pt x="654054" y="2113938"/>
                </a:lnTo>
                <a:lnTo>
                  <a:pt x="695796" y="2131592"/>
                </a:lnTo>
                <a:lnTo>
                  <a:pt x="738392" y="2147564"/>
                </a:lnTo>
                <a:lnTo>
                  <a:pt x="781799" y="2161812"/>
                </a:lnTo>
                <a:lnTo>
                  <a:pt x="825977" y="2174295"/>
                </a:lnTo>
                <a:lnTo>
                  <a:pt x="870883" y="2184971"/>
                </a:lnTo>
                <a:lnTo>
                  <a:pt x="916478" y="2193798"/>
                </a:lnTo>
                <a:lnTo>
                  <a:pt x="962718" y="2200737"/>
                </a:lnTo>
                <a:lnTo>
                  <a:pt x="1009562" y="2205744"/>
                </a:lnTo>
                <a:lnTo>
                  <a:pt x="1056970" y="2208779"/>
                </a:lnTo>
                <a:lnTo>
                  <a:pt x="1104900" y="2209800"/>
                </a:lnTo>
                <a:lnTo>
                  <a:pt x="1152819" y="2208779"/>
                </a:lnTo>
                <a:lnTo>
                  <a:pt x="1200219" y="2205744"/>
                </a:lnTo>
                <a:lnTo>
                  <a:pt x="1247056" y="2200737"/>
                </a:lnTo>
                <a:lnTo>
                  <a:pt x="1293289" y="2193798"/>
                </a:lnTo>
                <a:lnTo>
                  <a:pt x="1338878" y="2184971"/>
                </a:lnTo>
                <a:lnTo>
                  <a:pt x="1383780" y="2174295"/>
                </a:lnTo>
                <a:lnTo>
                  <a:pt x="1427953" y="2161812"/>
                </a:lnTo>
                <a:lnTo>
                  <a:pt x="1471357" y="2147564"/>
                </a:lnTo>
                <a:lnTo>
                  <a:pt x="1513950" y="2131592"/>
                </a:lnTo>
                <a:lnTo>
                  <a:pt x="1555690" y="2113938"/>
                </a:lnTo>
                <a:lnTo>
                  <a:pt x="1596537" y="2094644"/>
                </a:lnTo>
                <a:lnTo>
                  <a:pt x="1636447" y="2073749"/>
                </a:lnTo>
                <a:lnTo>
                  <a:pt x="1675381" y="2051297"/>
                </a:lnTo>
                <a:lnTo>
                  <a:pt x="1713296" y="2027328"/>
                </a:lnTo>
                <a:lnTo>
                  <a:pt x="1750151" y="2001885"/>
                </a:lnTo>
                <a:lnTo>
                  <a:pt x="1785904" y="1975007"/>
                </a:lnTo>
                <a:lnTo>
                  <a:pt x="1820515" y="1946737"/>
                </a:lnTo>
                <a:lnTo>
                  <a:pt x="1853940" y="1917117"/>
                </a:lnTo>
                <a:lnTo>
                  <a:pt x="1886140" y="1886188"/>
                </a:lnTo>
                <a:lnTo>
                  <a:pt x="1917072" y="1853990"/>
                </a:lnTo>
                <a:lnTo>
                  <a:pt x="1946695" y="1820567"/>
                </a:lnTo>
                <a:lnTo>
                  <a:pt x="1974968" y="1785958"/>
                </a:lnTo>
                <a:lnTo>
                  <a:pt x="2001849" y="1750206"/>
                </a:lnTo>
                <a:lnTo>
                  <a:pt x="2027296" y="1713352"/>
                </a:lnTo>
                <a:lnTo>
                  <a:pt x="2051268" y="1675437"/>
                </a:lnTo>
                <a:lnTo>
                  <a:pt x="2073723" y="1636504"/>
                </a:lnTo>
                <a:lnTo>
                  <a:pt x="2094621" y="1596592"/>
                </a:lnTo>
                <a:lnTo>
                  <a:pt x="2113919" y="1555745"/>
                </a:lnTo>
                <a:lnTo>
                  <a:pt x="2131576" y="1514003"/>
                </a:lnTo>
                <a:lnTo>
                  <a:pt x="2147551" y="1471407"/>
                </a:lnTo>
                <a:lnTo>
                  <a:pt x="2161801" y="1428000"/>
                </a:lnTo>
                <a:lnTo>
                  <a:pt x="2174287" y="1383822"/>
                </a:lnTo>
                <a:lnTo>
                  <a:pt x="2184965" y="1338916"/>
                </a:lnTo>
                <a:lnTo>
                  <a:pt x="2193795" y="1293321"/>
                </a:lnTo>
                <a:lnTo>
                  <a:pt x="2200735" y="1247081"/>
                </a:lnTo>
                <a:lnTo>
                  <a:pt x="2205743" y="1200237"/>
                </a:lnTo>
                <a:lnTo>
                  <a:pt x="2208778" y="1152829"/>
                </a:lnTo>
                <a:lnTo>
                  <a:pt x="2209800" y="1104900"/>
                </a:lnTo>
                <a:lnTo>
                  <a:pt x="2208778" y="1056970"/>
                </a:lnTo>
                <a:lnTo>
                  <a:pt x="2205743" y="1009562"/>
                </a:lnTo>
                <a:lnTo>
                  <a:pt x="2200735" y="962718"/>
                </a:lnTo>
                <a:lnTo>
                  <a:pt x="2193795" y="916478"/>
                </a:lnTo>
                <a:lnTo>
                  <a:pt x="2184965" y="870883"/>
                </a:lnTo>
                <a:lnTo>
                  <a:pt x="2174287" y="825977"/>
                </a:lnTo>
                <a:lnTo>
                  <a:pt x="2161801" y="781799"/>
                </a:lnTo>
                <a:lnTo>
                  <a:pt x="2147551" y="738392"/>
                </a:lnTo>
                <a:lnTo>
                  <a:pt x="2131576" y="695796"/>
                </a:lnTo>
                <a:lnTo>
                  <a:pt x="2113919" y="654054"/>
                </a:lnTo>
                <a:lnTo>
                  <a:pt x="2094621" y="613207"/>
                </a:lnTo>
                <a:lnTo>
                  <a:pt x="2073723" y="573295"/>
                </a:lnTo>
                <a:lnTo>
                  <a:pt x="2051268" y="534362"/>
                </a:lnTo>
                <a:lnTo>
                  <a:pt x="2027296" y="496447"/>
                </a:lnTo>
                <a:lnTo>
                  <a:pt x="2001849" y="459593"/>
                </a:lnTo>
                <a:lnTo>
                  <a:pt x="1974968" y="423841"/>
                </a:lnTo>
                <a:lnTo>
                  <a:pt x="1946695" y="389232"/>
                </a:lnTo>
                <a:lnTo>
                  <a:pt x="1917072" y="355809"/>
                </a:lnTo>
                <a:lnTo>
                  <a:pt x="1886140" y="323611"/>
                </a:lnTo>
                <a:lnTo>
                  <a:pt x="1853940" y="292682"/>
                </a:lnTo>
                <a:lnTo>
                  <a:pt x="1820515" y="263062"/>
                </a:lnTo>
                <a:lnTo>
                  <a:pt x="1785904" y="234792"/>
                </a:lnTo>
                <a:lnTo>
                  <a:pt x="1750151" y="207914"/>
                </a:lnTo>
                <a:lnTo>
                  <a:pt x="1713296" y="182471"/>
                </a:lnTo>
                <a:lnTo>
                  <a:pt x="1675381" y="158502"/>
                </a:lnTo>
                <a:lnTo>
                  <a:pt x="1636447" y="136050"/>
                </a:lnTo>
                <a:lnTo>
                  <a:pt x="1596537" y="115155"/>
                </a:lnTo>
                <a:lnTo>
                  <a:pt x="1555690" y="95861"/>
                </a:lnTo>
                <a:lnTo>
                  <a:pt x="1513950" y="78207"/>
                </a:lnTo>
                <a:lnTo>
                  <a:pt x="1471357" y="62235"/>
                </a:lnTo>
                <a:lnTo>
                  <a:pt x="1427953" y="47987"/>
                </a:lnTo>
                <a:lnTo>
                  <a:pt x="1383780" y="35504"/>
                </a:lnTo>
                <a:lnTo>
                  <a:pt x="1338878" y="24828"/>
                </a:lnTo>
                <a:lnTo>
                  <a:pt x="1293289" y="16001"/>
                </a:lnTo>
                <a:lnTo>
                  <a:pt x="1247056" y="9062"/>
                </a:lnTo>
                <a:lnTo>
                  <a:pt x="1200219" y="4055"/>
                </a:lnTo>
                <a:lnTo>
                  <a:pt x="1152819" y="1020"/>
                </a:lnTo>
                <a:lnTo>
                  <a:pt x="1104900" y="0"/>
                </a:lnTo>
                <a:close/>
              </a:path>
            </a:pathLst>
          </a:custGeom>
          <a:solidFill>
            <a:srgbClr val="AED6FF"/>
          </a:solidFill>
        </p:spPr>
        <p:txBody>
          <a:bodyPr wrap="square" lIns="0" tIns="0" rIns="0" bIns="0" rtlCol="0"/>
          <a:lstStyle/>
          <a:p>
            <a:endParaRPr/>
          </a:p>
        </p:txBody>
      </p:sp>
      <p:sp>
        <p:nvSpPr>
          <p:cNvPr id="6" name="object 6"/>
          <p:cNvSpPr/>
          <p:nvPr/>
        </p:nvSpPr>
        <p:spPr>
          <a:xfrm>
            <a:off x="6777101" y="1219200"/>
            <a:ext cx="2209800" cy="2209800"/>
          </a:xfrm>
          <a:custGeom>
            <a:avLst/>
            <a:gdLst/>
            <a:ahLst/>
            <a:cxnLst/>
            <a:rect l="l" t="t" r="r" b="b"/>
            <a:pathLst>
              <a:path w="2209800" h="2209800">
                <a:moveTo>
                  <a:pt x="0" y="1104900"/>
                </a:moveTo>
                <a:lnTo>
                  <a:pt x="1020" y="1056970"/>
                </a:lnTo>
                <a:lnTo>
                  <a:pt x="4055" y="1009562"/>
                </a:lnTo>
                <a:lnTo>
                  <a:pt x="9062" y="962718"/>
                </a:lnTo>
                <a:lnTo>
                  <a:pt x="16001" y="916478"/>
                </a:lnTo>
                <a:lnTo>
                  <a:pt x="24828" y="870883"/>
                </a:lnTo>
                <a:lnTo>
                  <a:pt x="35504" y="825977"/>
                </a:lnTo>
                <a:lnTo>
                  <a:pt x="47987" y="781799"/>
                </a:lnTo>
                <a:lnTo>
                  <a:pt x="62235" y="738392"/>
                </a:lnTo>
                <a:lnTo>
                  <a:pt x="78207" y="695796"/>
                </a:lnTo>
                <a:lnTo>
                  <a:pt x="95861" y="654054"/>
                </a:lnTo>
                <a:lnTo>
                  <a:pt x="115155" y="613207"/>
                </a:lnTo>
                <a:lnTo>
                  <a:pt x="136050" y="573295"/>
                </a:lnTo>
                <a:lnTo>
                  <a:pt x="158502" y="534362"/>
                </a:lnTo>
                <a:lnTo>
                  <a:pt x="182471" y="496447"/>
                </a:lnTo>
                <a:lnTo>
                  <a:pt x="207914" y="459593"/>
                </a:lnTo>
                <a:lnTo>
                  <a:pt x="234792" y="423841"/>
                </a:lnTo>
                <a:lnTo>
                  <a:pt x="263062" y="389232"/>
                </a:lnTo>
                <a:lnTo>
                  <a:pt x="292682" y="355809"/>
                </a:lnTo>
                <a:lnTo>
                  <a:pt x="323611" y="323611"/>
                </a:lnTo>
                <a:lnTo>
                  <a:pt x="355809" y="292682"/>
                </a:lnTo>
                <a:lnTo>
                  <a:pt x="389232" y="263062"/>
                </a:lnTo>
                <a:lnTo>
                  <a:pt x="423841" y="234792"/>
                </a:lnTo>
                <a:lnTo>
                  <a:pt x="459593" y="207914"/>
                </a:lnTo>
                <a:lnTo>
                  <a:pt x="496447" y="182471"/>
                </a:lnTo>
                <a:lnTo>
                  <a:pt x="534362" y="158502"/>
                </a:lnTo>
                <a:lnTo>
                  <a:pt x="573295" y="136050"/>
                </a:lnTo>
                <a:lnTo>
                  <a:pt x="613207" y="115155"/>
                </a:lnTo>
                <a:lnTo>
                  <a:pt x="654054" y="95861"/>
                </a:lnTo>
                <a:lnTo>
                  <a:pt x="695796" y="78207"/>
                </a:lnTo>
                <a:lnTo>
                  <a:pt x="738392" y="62235"/>
                </a:lnTo>
                <a:lnTo>
                  <a:pt x="781799" y="47987"/>
                </a:lnTo>
                <a:lnTo>
                  <a:pt x="825977" y="35504"/>
                </a:lnTo>
                <a:lnTo>
                  <a:pt x="870883" y="24828"/>
                </a:lnTo>
                <a:lnTo>
                  <a:pt x="916478" y="16001"/>
                </a:lnTo>
                <a:lnTo>
                  <a:pt x="962718" y="9062"/>
                </a:lnTo>
                <a:lnTo>
                  <a:pt x="1009562" y="4055"/>
                </a:lnTo>
                <a:lnTo>
                  <a:pt x="1056970" y="1020"/>
                </a:lnTo>
                <a:lnTo>
                  <a:pt x="1104900" y="0"/>
                </a:lnTo>
                <a:lnTo>
                  <a:pt x="1152819" y="1020"/>
                </a:lnTo>
                <a:lnTo>
                  <a:pt x="1200219" y="4055"/>
                </a:lnTo>
                <a:lnTo>
                  <a:pt x="1247056" y="9062"/>
                </a:lnTo>
                <a:lnTo>
                  <a:pt x="1293289" y="16001"/>
                </a:lnTo>
                <a:lnTo>
                  <a:pt x="1338878" y="24828"/>
                </a:lnTo>
                <a:lnTo>
                  <a:pt x="1383780" y="35504"/>
                </a:lnTo>
                <a:lnTo>
                  <a:pt x="1427953" y="47987"/>
                </a:lnTo>
                <a:lnTo>
                  <a:pt x="1471357" y="62235"/>
                </a:lnTo>
                <a:lnTo>
                  <a:pt x="1513950" y="78207"/>
                </a:lnTo>
                <a:lnTo>
                  <a:pt x="1555690" y="95861"/>
                </a:lnTo>
                <a:lnTo>
                  <a:pt x="1596537" y="115155"/>
                </a:lnTo>
                <a:lnTo>
                  <a:pt x="1636447" y="136050"/>
                </a:lnTo>
                <a:lnTo>
                  <a:pt x="1675381" y="158502"/>
                </a:lnTo>
                <a:lnTo>
                  <a:pt x="1713296" y="182471"/>
                </a:lnTo>
                <a:lnTo>
                  <a:pt x="1750151" y="207914"/>
                </a:lnTo>
                <a:lnTo>
                  <a:pt x="1785904" y="234792"/>
                </a:lnTo>
                <a:lnTo>
                  <a:pt x="1820515" y="263062"/>
                </a:lnTo>
                <a:lnTo>
                  <a:pt x="1853940" y="292682"/>
                </a:lnTo>
                <a:lnTo>
                  <a:pt x="1886140" y="323611"/>
                </a:lnTo>
                <a:lnTo>
                  <a:pt x="1917072" y="355809"/>
                </a:lnTo>
                <a:lnTo>
                  <a:pt x="1946695" y="389232"/>
                </a:lnTo>
                <a:lnTo>
                  <a:pt x="1974968" y="423841"/>
                </a:lnTo>
                <a:lnTo>
                  <a:pt x="2001849" y="459593"/>
                </a:lnTo>
                <a:lnTo>
                  <a:pt x="2027296" y="496447"/>
                </a:lnTo>
                <a:lnTo>
                  <a:pt x="2051268" y="534362"/>
                </a:lnTo>
                <a:lnTo>
                  <a:pt x="2073723" y="573295"/>
                </a:lnTo>
                <a:lnTo>
                  <a:pt x="2094621" y="613207"/>
                </a:lnTo>
                <a:lnTo>
                  <a:pt x="2113919" y="654054"/>
                </a:lnTo>
                <a:lnTo>
                  <a:pt x="2131576" y="695796"/>
                </a:lnTo>
                <a:lnTo>
                  <a:pt x="2147551" y="738392"/>
                </a:lnTo>
                <a:lnTo>
                  <a:pt x="2161801" y="781799"/>
                </a:lnTo>
                <a:lnTo>
                  <a:pt x="2174287" y="825977"/>
                </a:lnTo>
                <a:lnTo>
                  <a:pt x="2184965" y="870883"/>
                </a:lnTo>
                <a:lnTo>
                  <a:pt x="2193795" y="916478"/>
                </a:lnTo>
                <a:lnTo>
                  <a:pt x="2200735" y="962718"/>
                </a:lnTo>
                <a:lnTo>
                  <a:pt x="2205743" y="1009562"/>
                </a:lnTo>
                <a:lnTo>
                  <a:pt x="2208778" y="1056970"/>
                </a:lnTo>
                <a:lnTo>
                  <a:pt x="2209800" y="1104900"/>
                </a:lnTo>
                <a:lnTo>
                  <a:pt x="2208778" y="1152829"/>
                </a:lnTo>
                <a:lnTo>
                  <a:pt x="2205743" y="1200237"/>
                </a:lnTo>
                <a:lnTo>
                  <a:pt x="2200735" y="1247081"/>
                </a:lnTo>
                <a:lnTo>
                  <a:pt x="2193795" y="1293321"/>
                </a:lnTo>
                <a:lnTo>
                  <a:pt x="2184965" y="1338916"/>
                </a:lnTo>
                <a:lnTo>
                  <a:pt x="2174287" y="1383822"/>
                </a:lnTo>
                <a:lnTo>
                  <a:pt x="2161801" y="1428000"/>
                </a:lnTo>
                <a:lnTo>
                  <a:pt x="2147551" y="1471407"/>
                </a:lnTo>
                <a:lnTo>
                  <a:pt x="2131576" y="1514003"/>
                </a:lnTo>
                <a:lnTo>
                  <a:pt x="2113919" y="1555745"/>
                </a:lnTo>
                <a:lnTo>
                  <a:pt x="2094621" y="1596592"/>
                </a:lnTo>
                <a:lnTo>
                  <a:pt x="2073723" y="1636504"/>
                </a:lnTo>
                <a:lnTo>
                  <a:pt x="2051268" y="1675437"/>
                </a:lnTo>
                <a:lnTo>
                  <a:pt x="2027296" y="1713352"/>
                </a:lnTo>
                <a:lnTo>
                  <a:pt x="2001849" y="1750206"/>
                </a:lnTo>
                <a:lnTo>
                  <a:pt x="1974968" y="1785958"/>
                </a:lnTo>
                <a:lnTo>
                  <a:pt x="1946695" y="1820567"/>
                </a:lnTo>
                <a:lnTo>
                  <a:pt x="1917072" y="1853990"/>
                </a:lnTo>
                <a:lnTo>
                  <a:pt x="1886140" y="1886188"/>
                </a:lnTo>
                <a:lnTo>
                  <a:pt x="1853940" y="1917117"/>
                </a:lnTo>
                <a:lnTo>
                  <a:pt x="1820515" y="1946737"/>
                </a:lnTo>
                <a:lnTo>
                  <a:pt x="1785904" y="1975007"/>
                </a:lnTo>
                <a:lnTo>
                  <a:pt x="1750151" y="2001885"/>
                </a:lnTo>
                <a:lnTo>
                  <a:pt x="1713296" y="2027328"/>
                </a:lnTo>
                <a:lnTo>
                  <a:pt x="1675381" y="2051297"/>
                </a:lnTo>
                <a:lnTo>
                  <a:pt x="1636447" y="2073749"/>
                </a:lnTo>
                <a:lnTo>
                  <a:pt x="1596537" y="2094644"/>
                </a:lnTo>
                <a:lnTo>
                  <a:pt x="1555690" y="2113938"/>
                </a:lnTo>
                <a:lnTo>
                  <a:pt x="1513950" y="2131592"/>
                </a:lnTo>
                <a:lnTo>
                  <a:pt x="1471357" y="2147564"/>
                </a:lnTo>
                <a:lnTo>
                  <a:pt x="1427953" y="2161812"/>
                </a:lnTo>
                <a:lnTo>
                  <a:pt x="1383780" y="2174295"/>
                </a:lnTo>
                <a:lnTo>
                  <a:pt x="1338878" y="2184971"/>
                </a:lnTo>
                <a:lnTo>
                  <a:pt x="1293289" y="2193798"/>
                </a:lnTo>
                <a:lnTo>
                  <a:pt x="1247056" y="2200737"/>
                </a:lnTo>
                <a:lnTo>
                  <a:pt x="1200219" y="2205744"/>
                </a:lnTo>
                <a:lnTo>
                  <a:pt x="1152819" y="2208779"/>
                </a:lnTo>
                <a:lnTo>
                  <a:pt x="1104900" y="2209800"/>
                </a:lnTo>
                <a:lnTo>
                  <a:pt x="1056970" y="2208779"/>
                </a:lnTo>
                <a:lnTo>
                  <a:pt x="1009562" y="2205744"/>
                </a:lnTo>
                <a:lnTo>
                  <a:pt x="962718" y="2200737"/>
                </a:lnTo>
                <a:lnTo>
                  <a:pt x="916478" y="2193798"/>
                </a:lnTo>
                <a:lnTo>
                  <a:pt x="870883" y="2184971"/>
                </a:lnTo>
                <a:lnTo>
                  <a:pt x="825977" y="2174295"/>
                </a:lnTo>
                <a:lnTo>
                  <a:pt x="781799" y="2161812"/>
                </a:lnTo>
                <a:lnTo>
                  <a:pt x="738392" y="2147564"/>
                </a:lnTo>
                <a:lnTo>
                  <a:pt x="695796" y="2131592"/>
                </a:lnTo>
                <a:lnTo>
                  <a:pt x="654054" y="2113938"/>
                </a:lnTo>
                <a:lnTo>
                  <a:pt x="613207" y="2094644"/>
                </a:lnTo>
                <a:lnTo>
                  <a:pt x="573295" y="2073749"/>
                </a:lnTo>
                <a:lnTo>
                  <a:pt x="534362" y="2051297"/>
                </a:lnTo>
                <a:lnTo>
                  <a:pt x="496447" y="2027328"/>
                </a:lnTo>
                <a:lnTo>
                  <a:pt x="459593" y="2001885"/>
                </a:lnTo>
                <a:lnTo>
                  <a:pt x="423841" y="1975007"/>
                </a:lnTo>
                <a:lnTo>
                  <a:pt x="389232" y="1946737"/>
                </a:lnTo>
                <a:lnTo>
                  <a:pt x="355809" y="1917117"/>
                </a:lnTo>
                <a:lnTo>
                  <a:pt x="323611" y="1886188"/>
                </a:lnTo>
                <a:lnTo>
                  <a:pt x="292682" y="1853990"/>
                </a:lnTo>
                <a:lnTo>
                  <a:pt x="263062" y="1820567"/>
                </a:lnTo>
                <a:lnTo>
                  <a:pt x="234792" y="1785958"/>
                </a:lnTo>
                <a:lnTo>
                  <a:pt x="207914" y="1750206"/>
                </a:lnTo>
                <a:lnTo>
                  <a:pt x="182471" y="1713352"/>
                </a:lnTo>
                <a:lnTo>
                  <a:pt x="158502" y="1675437"/>
                </a:lnTo>
                <a:lnTo>
                  <a:pt x="136050" y="1636504"/>
                </a:lnTo>
                <a:lnTo>
                  <a:pt x="115155" y="1596592"/>
                </a:lnTo>
                <a:lnTo>
                  <a:pt x="95861" y="1555745"/>
                </a:lnTo>
                <a:lnTo>
                  <a:pt x="78207" y="1514003"/>
                </a:lnTo>
                <a:lnTo>
                  <a:pt x="62235" y="1471407"/>
                </a:lnTo>
                <a:lnTo>
                  <a:pt x="47987" y="1428000"/>
                </a:lnTo>
                <a:lnTo>
                  <a:pt x="35504" y="1383822"/>
                </a:lnTo>
                <a:lnTo>
                  <a:pt x="24828" y="1338916"/>
                </a:lnTo>
                <a:lnTo>
                  <a:pt x="16001" y="1293321"/>
                </a:lnTo>
                <a:lnTo>
                  <a:pt x="9062" y="1247081"/>
                </a:lnTo>
                <a:lnTo>
                  <a:pt x="4055" y="1200237"/>
                </a:lnTo>
                <a:lnTo>
                  <a:pt x="1020" y="1152829"/>
                </a:lnTo>
                <a:lnTo>
                  <a:pt x="0" y="1104900"/>
                </a:lnTo>
                <a:close/>
              </a:path>
            </a:pathLst>
          </a:custGeom>
          <a:ln w="88900">
            <a:solidFill>
              <a:srgbClr val="000080"/>
            </a:solidFill>
          </a:ln>
        </p:spPr>
        <p:txBody>
          <a:bodyPr wrap="square" lIns="0" tIns="0" rIns="0" bIns="0" rtlCol="0"/>
          <a:lstStyle/>
          <a:p>
            <a:endParaRPr/>
          </a:p>
        </p:txBody>
      </p:sp>
      <p:sp>
        <p:nvSpPr>
          <p:cNvPr id="7" name="object 7"/>
          <p:cNvSpPr/>
          <p:nvPr/>
        </p:nvSpPr>
        <p:spPr>
          <a:xfrm>
            <a:off x="7287641" y="1397380"/>
            <a:ext cx="1138427" cy="641604"/>
          </a:xfrm>
          <a:prstGeom prst="rect">
            <a:avLst/>
          </a:prstGeom>
          <a:blipFill>
            <a:blip r:embed="rId3" cstate="print"/>
            <a:stretch>
              <a:fillRect/>
            </a:stretch>
          </a:blipFill>
        </p:spPr>
        <p:txBody>
          <a:bodyPr wrap="square" lIns="0" tIns="0" rIns="0" bIns="0" rtlCol="0"/>
          <a:lstStyle/>
          <a:p>
            <a:endParaRPr/>
          </a:p>
        </p:txBody>
      </p:sp>
      <p:sp>
        <p:nvSpPr>
          <p:cNvPr id="8" name="object 8"/>
          <p:cNvSpPr/>
          <p:nvPr/>
        </p:nvSpPr>
        <p:spPr>
          <a:xfrm>
            <a:off x="7287641" y="1397380"/>
            <a:ext cx="1138555" cy="641985"/>
          </a:xfrm>
          <a:custGeom>
            <a:avLst/>
            <a:gdLst/>
            <a:ahLst/>
            <a:cxnLst/>
            <a:rect l="l" t="t" r="r" b="b"/>
            <a:pathLst>
              <a:path w="1138554" h="641985">
                <a:moveTo>
                  <a:pt x="0" y="320802"/>
                </a:moveTo>
                <a:lnTo>
                  <a:pt x="13130" y="251985"/>
                </a:lnTo>
                <a:lnTo>
                  <a:pt x="50669" y="188310"/>
                </a:lnTo>
                <a:lnTo>
                  <a:pt x="77724" y="158891"/>
                </a:lnTo>
                <a:lnTo>
                  <a:pt x="109837" y="131344"/>
                </a:lnTo>
                <a:lnTo>
                  <a:pt x="146663" y="105866"/>
                </a:lnTo>
                <a:lnTo>
                  <a:pt x="187854" y="82652"/>
                </a:lnTo>
                <a:lnTo>
                  <a:pt x="233062" y="61898"/>
                </a:lnTo>
                <a:lnTo>
                  <a:pt x="281939" y="43800"/>
                </a:lnTo>
                <a:lnTo>
                  <a:pt x="334140" y="28554"/>
                </a:lnTo>
                <a:lnTo>
                  <a:pt x="389314" y="16355"/>
                </a:lnTo>
                <a:lnTo>
                  <a:pt x="447117" y="7399"/>
                </a:lnTo>
                <a:lnTo>
                  <a:pt x="507199" y="1882"/>
                </a:lnTo>
                <a:lnTo>
                  <a:pt x="569213" y="0"/>
                </a:lnTo>
                <a:lnTo>
                  <a:pt x="631228" y="1882"/>
                </a:lnTo>
                <a:lnTo>
                  <a:pt x="691310" y="7399"/>
                </a:lnTo>
                <a:lnTo>
                  <a:pt x="749113" y="16355"/>
                </a:lnTo>
                <a:lnTo>
                  <a:pt x="804287" y="28554"/>
                </a:lnTo>
                <a:lnTo>
                  <a:pt x="856487" y="43800"/>
                </a:lnTo>
                <a:lnTo>
                  <a:pt x="905365" y="61898"/>
                </a:lnTo>
                <a:lnTo>
                  <a:pt x="950573" y="82652"/>
                </a:lnTo>
                <a:lnTo>
                  <a:pt x="991764" y="105866"/>
                </a:lnTo>
                <a:lnTo>
                  <a:pt x="1028590" y="131344"/>
                </a:lnTo>
                <a:lnTo>
                  <a:pt x="1060703" y="158891"/>
                </a:lnTo>
                <a:lnTo>
                  <a:pt x="1087758" y="188310"/>
                </a:lnTo>
                <a:lnTo>
                  <a:pt x="1125297" y="251985"/>
                </a:lnTo>
                <a:lnTo>
                  <a:pt x="1138427" y="320802"/>
                </a:lnTo>
                <a:lnTo>
                  <a:pt x="1135087" y="355755"/>
                </a:lnTo>
                <a:lnTo>
                  <a:pt x="1125297" y="389618"/>
                </a:lnTo>
                <a:lnTo>
                  <a:pt x="1087758" y="453293"/>
                </a:lnTo>
                <a:lnTo>
                  <a:pt x="1060703" y="482712"/>
                </a:lnTo>
                <a:lnTo>
                  <a:pt x="1028590" y="510259"/>
                </a:lnTo>
                <a:lnTo>
                  <a:pt x="991764" y="535737"/>
                </a:lnTo>
                <a:lnTo>
                  <a:pt x="950573" y="558951"/>
                </a:lnTo>
                <a:lnTo>
                  <a:pt x="905365" y="579705"/>
                </a:lnTo>
                <a:lnTo>
                  <a:pt x="856487" y="597803"/>
                </a:lnTo>
                <a:lnTo>
                  <a:pt x="804287" y="613049"/>
                </a:lnTo>
                <a:lnTo>
                  <a:pt x="749113" y="625248"/>
                </a:lnTo>
                <a:lnTo>
                  <a:pt x="691310" y="634204"/>
                </a:lnTo>
                <a:lnTo>
                  <a:pt x="631228" y="639721"/>
                </a:lnTo>
                <a:lnTo>
                  <a:pt x="569213" y="641604"/>
                </a:lnTo>
                <a:lnTo>
                  <a:pt x="507199" y="639721"/>
                </a:lnTo>
                <a:lnTo>
                  <a:pt x="447117" y="634204"/>
                </a:lnTo>
                <a:lnTo>
                  <a:pt x="389314" y="625248"/>
                </a:lnTo>
                <a:lnTo>
                  <a:pt x="334140" y="613049"/>
                </a:lnTo>
                <a:lnTo>
                  <a:pt x="281939" y="597803"/>
                </a:lnTo>
                <a:lnTo>
                  <a:pt x="233062" y="579705"/>
                </a:lnTo>
                <a:lnTo>
                  <a:pt x="187854" y="558951"/>
                </a:lnTo>
                <a:lnTo>
                  <a:pt x="146663" y="535737"/>
                </a:lnTo>
                <a:lnTo>
                  <a:pt x="109837" y="510259"/>
                </a:lnTo>
                <a:lnTo>
                  <a:pt x="77724" y="482712"/>
                </a:lnTo>
                <a:lnTo>
                  <a:pt x="50669" y="453293"/>
                </a:lnTo>
                <a:lnTo>
                  <a:pt x="13130" y="389618"/>
                </a:lnTo>
                <a:lnTo>
                  <a:pt x="0" y="320802"/>
                </a:lnTo>
                <a:close/>
              </a:path>
            </a:pathLst>
          </a:custGeom>
          <a:ln w="12699">
            <a:solidFill>
              <a:srgbClr val="DBFFC8"/>
            </a:solidFill>
          </a:ln>
        </p:spPr>
        <p:txBody>
          <a:bodyPr wrap="square" lIns="0" tIns="0" rIns="0" bIns="0" rtlCol="0"/>
          <a:lstStyle/>
          <a:p>
            <a:endParaRPr/>
          </a:p>
        </p:txBody>
      </p:sp>
      <p:sp>
        <p:nvSpPr>
          <p:cNvPr id="9" name="object 9"/>
          <p:cNvSpPr txBox="1"/>
          <p:nvPr/>
        </p:nvSpPr>
        <p:spPr>
          <a:xfrm>
            <a:off x="7597267" y="1436496"/>
            <a:ext cx="520700" cy="560705"/>
          </a:xfrm>
          <a:prstGeom prst="rect">
            <a:avLst/>
          </a:prstGeom>
        </p:spPr>
        <p:txBody>
          <a:bodyPr vert="horz" wrap="square" lIns="0" tIns="0" rIns="0" bIns="0" rtlCol="0">
            <a:spAutoFit/>
          </a:bodyPr>
          <a:lstStyle/>
          <a:p>
            <a:pPr marL="62865" marR="5080" indent="-50800">
              <a:lnSpc>
                <a:spcPct val="100000"/>
              </a:lnSpc>
            </a:pPr>
            <a:r>
              <a:rPr sz="1800" b="1" spc="-5" dirty="0">
                <a:latin typeface="Times New Roman"/>
                <a:cs typeface="Times New Roman"/>
              </a:rPr>
              <a:t>Sales  Org</a:t>
            </a:r>
            <a:endParaRPr sz="1800">
              <a:latin typeface="Times New Roman"/>
              <a:cs typeface="Times New Roman"/>
            </a:endParaRPr>
          </a:p>
        </p:txBody>
      </p:sp>
      <p:sp>
        <p:nvSpPr>
          <p:cNvPr id="10" name="object 10"/>
          <p:cNvSpPr/>
          <p:nvPr/>
        </p:nvSpPr>
        <p:spPr>
          <a:xfrm>
            <a:off x="7044943" y="2537967"/>
            <a:ext cx="669544" cy="570230"/>
          </a:xfrm>
          <a:prstGeom prst="rect">
            <a:avLst/>
          </a:prstGeom>
          <a:blipFill>
            <a:blip r:embed="rId4" cstate="print"/>
            <a:stretch>
              <a:fillRect/>
            </a:stretch>
          </a:blipFill>
        </p:spPr>
        <p:txBody>
          <a:bodyPr wrap="square" lIns="0" tIns="0" rIns="0" bIns="0" rtlCol="0"/>
          <a:lstStyle/>
          <a:p>
            <a:endParaRPr/>
          </a:p>
        </p:txBody>
      </p:sp>
      <p:sp>
        <p:nvSpPr>
          <p:cNvPr id="11" name="object 11"/>
          <p:cNvSpPr/>
          <p:nvPr/>
        </p:nvSpPr>
        <p:spPr>
          <a:xfrm>
            <a:off x="7044943" y="2537967"/>
            <a:ext cx="669925" cy="570230"/>
          </a:xfrm>
          <a:custGeom>
            <a:avLst/>
            <a:gdLst/>
            <a:ahLst/>
            <a:cxnLst/>
            <a:rect l="l" t="t" r="r" b="b"/>
            <a:pathLst>
              <a:path w="669925" h="570230">
                <a:moveTo>
                  <a:pt x="0" y="285115"/>
                </a:moveTo>
                <a:lnTo>
                  <a:pt x="3629" y="242979"/>
                </a:lnTo>
                <a:lnTo>
                  <a:pt x="14172" y="202764"/>
                </a:lnTo>
                <a:lnTo>
                  <a:pt x="31110" y="164911"/>
                </a:lnTo>
                <a:lnTo>
                  <a:pt x="53928" y="129860"/>
                </a:lnTo>
                <a:lnTo>
                  <a:pt x="82106" y="98052"/>
                </a:lnTo>
                <a:lnTo>
                  <a:pt x="115127" y="69928"/>
                </a:lnTo>
                <a:lnTo>
                  <a:pt x="152475" y="45929"/>
                </a:lnTo>
                <a:lnTo>
                  <a:pt x="193630" y="26496"/>
                </a:lnTo>
                <a:lnTo>
                  <a:pt x="238077" y="12070"/>
                </a:lnTo>
                <a:lnTo>
                  <a:pt x="285296" y="3091"/>
                </a:lnTo>
                <a:lnTo>
                  <a:pt x="334772" y="0"/>
                </a:lnTo>
                <a:lnTo>
                  <a:pt x="384247" y="3091"/>
                </a:lnTo>
                <a:lnTo>
                  <a:pt x="431466" y="12070"/>
                </a:lnTo>
                <a:lnTo>
                  <a:pt x="475913" y="26496"/>
                </a:lnTo>
                <a:lnTo>
                  <a:pt x="517068" y="45929"/>
                </a:lnTo>
                <a:lnTo>
                  <a:pt x="554416" y="69928"/>
                </a:lnTo>
                <a:lnTo>
                  <a:pt x="587437" y="98052"/>
                </a:lnTo>
                <a:lnTo>
                  <a:pt x="615615" y="129860"/>
                </a:lnTo>
                <a:lnTo>
                  <a:pt x="638433" y="164911"/>
                </a:lnTo>
                <a:lnTo>
                  <a:pt x="655371" y="202764"/>
                </a:lnTo>
                <a:lnTo>
                  <a:pt x="665914" y="242979"/>
                </a:lnTo>
                <a:lnTo>
                  <a:pt x="669544" y="285115"/>
                </a:lnTo>
                <a:lnTo>
                  <a:pt x="665914" y="327250"/>
                </a:lnTo>
                <a:lnTo>
                  <a:pt x="655371" y="367465"/>
                </a:lnTo>
                <a:lnTo>
                  <a:pt x="638433" y="405318"/>
                </a:lnTo>
                <a:lnTo>
                  <a:pt x="615615" y="440369"/>
                </a:lnTo>
                <a:lnTo>
                  <a:pt x="587437" y="472177"/>
                </a:lnTo>
                <a:lnTo>
                  <a:pt x="554416" y="500301"/>
                </a:lnTo>
                <a:lnTo>
                  <a:pt x="517068" y="524300"/>
                </a:lnTo>
                <a:lnTo>
                  <a:pt x="475913" y="543733"/>
                </a:lnTo>
                <a:lnTo>
                  <a:pt x="431466" y="558159"/>
                </a:lnTo>
                <a:lnTo>
                  <a:pt x="384247" y="567138"/>
                </a:lnTo>
                <a:lnTo>
                  <a:pt x="334772" y="570230"/>
                </a:lnTo>
                <a:lnTo>
                  <a:pt x="285296" y="567138"/>
                </a:lnTo>
                <a:lnTo>
                  <a:pt x="238077" y="558159"/>
                </a:lnTo>
                <a:lnTo>
                  <a:pt x="193630" y="543733"/>
                </a:lnTo>
                <a:lnTo>
                  <a:pt x="152475" y="524300"/>
                </a:lnTo>
                <a:lnTo>
                  <a:pt x="115127" y="500301"/>
                </a:lnTo>
                <a:lnTo>
                  <a:pt x="82106" y="472177"/>
                </a:lnTo>
                <a:lnTo>
                  <a:pt x="53928" y="440369"/>
                </a:lnTo>
                <a:lnTo>
                  <a:pt x="31110" y="405318"/>
                </a:lnTo>
                <a:lnTo>
                  <a:pt x="14172" y="367465"/>
                </a:lnTo>
                <a:lnTo>
                  <a:pt x="3629" y="327250"/>
                </a:lnTo>
                <a:lnTo>
                  <a:pt x="0" y="285115"/>
                </a:lnTo>
                <a:close/>
              </a:path>
            </a:pathLst>
          </a:custGeom>
          <a:ln w="12700">
            <a:solidFill>
              <a:srgbClr val="FFFF00"/>
            </a:solidFill>
          </a:ln>
        </p:spPr>
        <p:txBody>
          <a:bodyPr wrap="square" lIns="0" tIns="0" rIns="0" bIns="0" rtlCol="0"/>
          <a:lstStyle/>
          <a:p>
            <a:endParaRPr/>
          </a:p>
        </p:txBody>
      </p:sp>
      <p:sp>
        <p:nvSpPr>
          <p:cNvPr id="12" name="object 12"/>
          <p:cNvSpPr txBox="1"/>
          <p:nvPr/>
        </p:nvSpPr>
        <p:spPr>
          <a:xfrm>
            <a:off x="7195184" y="2711450"/>
            <a:ext cx="370205" cy="225425"/>
          </a:xfrm>
          <a:prstGeom prst="rect">
            <a:avLst/>
          </a:prstGeom>
        </p:spPr>
        <p:txBody>
          <a:bodyPr vert="horz" wrap="square" lIns="0" tIns="0" rIns="0" bIns="0" rtlCol="0">
            <a:spAutoFit/>
          </a:bodyPr>
          <a:lstStyle/>
          <a:p>
            <a:pPr marL="12700">
              <a:lnSpc>
                <a:spcPct val="100000"/>
              </a:lnSpc>
            </a:pPr>
            <a:r>
              <a:rPr sz="1400" b="1" spc="-10" dirty="0">
                <a:latin typeface="Times New Roman"/>
                <a:cs typeface="Times New Roman"/>
              </a:rPr>
              <a:t>DC1</a:t>
            </a:r>
            <a:endParaRPr sz="1400">
              <a:latin typeface="Times New Roman"/>
              <a:cs typeface="Times New Roman"/>
            </a:endParaRPr>
          </a:p>
        </p:txBody>
      </p:sp>
      <p:sp>
        <p:nvSpPr>
          <p:cNvPr id="13" name="object 13"/>
          <p:cNvSpPr/>
          <p:nvPr/>
        </p:nvSpPr>
        <p:spPr>
          <a:xfrm>
            <a:off x="8057768" y="2546857"/>
            <a:ext cx="669544" cy="570229"/>
          </a:xfrm>
          <a:prstGeom prst="rect">
            <a:avLst/>
          </a:prstGeom>
          <a:blipFill>
            <a:blip r:embed="rId5" cstate="print"/>
            <a:stretch>
              <a:fillRect/>
            </a:stretch>
          </a:blipFill>
        </p:spPr>
        <p:txBody>
          <a:bodyPr wrap="square" lIns="0" tIns="0" rIns="0" bIns="0" rtlCol="0"/>
          <a:lstStyle/>
          <a:p>
            <a:endParaRPr/>
          </a:p>
        </p:txBody>
      </p:sp>
      <p:sp>
        <p:nvSpPr>
          <p:cNvPr id="14" name="object 14"/>
          <p:cNvSpPr/>
          <p:nvPr/>
        </p:nvSpPr>
        <p:spPr>
          <a:xfrm>
            <a:off x="8057768" y="2546857"/>
            <a:ext cx="669925" cy="570230"/>
          </a:xfrm>
          <a:custGeom>
            <a:avLst/>
            <a:gdLst/>
            <a:ahLst/>
            <a:cxnLst/>
            <a:rect l="l" t="t" r="r" b="b"/>
            <a:pathLst>
              <a:path w="669925" h="570230">
                <a:moveTo>
                  <a:pt x="0" y="285114"/>
                </a:moveTo>
                <a:lnTo>
                  <a:pt x="3629" y="242979"/>
                </a:lnTo>
                <a:lnTo>
                  <a:pt x="14172" y="202764"/>
                </a:lnTo>
                <a:lnTo>
                  <a:pt x="31110" y="164911"/>
                </a:lnTo>
                <a:lnTo>
                  <a:pt x="53928" y="129860"/>
                </a:lnTo>
                <a:lnTo>
                  <a:pt x="82106" y="98052"/>
                </a:lnTo>
                <a:lnTo>
                  <a:pt x="115127" y="69928"/>
                </a:lnTo>
                <a:lnTo>
                  <a:pt x="152475" y="45929"/>
                </a:lnTo>
                <a:lnTo>
                  <a:pt x="193630" y="26496"/>
                </a:lnTo>
                <a:lnTo>
                  <a:pt x="238077" y="12070"/>
                </a:lnTo>
                <a:lnTo>
                  <a:pt x="285296" y="3091"/>
                </a:lnTo>
                <a:lnTo>
                  <a:pt x="334772" y="0"/>
                </a:lnTo>
                <a:lnTo>
                  <a:pt x="384247" y="3091"/>
                </a:lnTo>
                <a:lnTo>
                  <a:pt x="431466" y="12070"/>
                </a:lnTo>
                <a:lnTo>
                  <a:pt x="475913" y="26496"/>
                </a:lnTo>
                <a:lnTo>
                  <a:pt x="517068" y="45929"/>
                </a:lnTo>
                <a:lnTo>
                  <a:pt x="554416" y="69928"/>
                </a:lnTo>
                <a:lnTo>
                  <a:pt x="587437" y="98052"/>
                </a:lnTo>
                <a:lnTo>
                  <a:pt x="615615" y="129860"/>
                </a:lnTo>
                <a:lnTo>
                  <a:pt x="638433" y="164911"/>
                </a:lnTo>
                <a:lnTo>
                  <a:pt x="655371" y="202764"/>
                </a:lnTo>
                <a:lnTo>
                  <a:pt x="665914" y="242979"/>
                </a:lnTo>
                <a:lnTo>
                  <a:pt x="669544" y="285114"/>
                </a:lnTo>
                <a:lnTo>
                  <a:pt x="665914" y="327250"/>
                </a:lnTo>
                <a:lnTo>
                  <a:pt x="655371" y="367465"/>
                </a:lnTo>
                <a:lnTo>
                  <a:pt x="638433" y="405318"/>
                </a:lnTo>
                <a:lnTo>
                  <a:pt x="615615" y="440369"/>
                </a:lnTo>
                <a:lnTo>
                  <a:pt x="587437" y="472177"/>
                </a:lnTo>
                <a:lnTo>
                  <a:pt x="554416" y="500301"/>
                </a:lnTo>
                <a:lnTo>
                  <a:pt x="517068" y="524300"/>
                </a:lnTo>
                <a:lnTo>
                  <a:pt x="475913" y="543733"/>
                </a:lnTo>
                <a:lnTo>
                  <a:pt x="431466" y="558159"/>
                </a:lnTo>
                <a:lnTo>
                  <a:pt x="384247" y="567138"/>
                </a:lnTo>
                <a:lnTo>
                  <a:pt x="334772" y="570229"/>
                </a:lnTo>
                <a:lnTo>
                  <a:pt x="285296" y="567138"/>
                </a:lnTo>
                <a:lnTo>
                  <a:pt x="238077" y="558159"/>
                </a:lnTo>
                <a:lnTo>
                  <a:pt x="193630" y="543733"/>
                </a:lnTo>
                <a:lnTo>
                  <a:pt x="152475" y="524300"/>
                </a:lnTo>
                <a:lnTo>
                  <a:pt x="115127" y="500301"/>
                </a:lnTo>
                <a:lnTo>
                  <a:pt x="82106" y="472177"/>
                </a:lnTo>
                <a:lnTo>
                  <a:pt x="53928" y="440369"/>
                </a:lnTo>
                <a:lnTo>
                  <a:pt x="31110" y="405318"/>
                </a:lnTo>
                <a:lnTo>
                  <a:pt x="14172" y="367465"/>
                </a:lnTo>
                <a:lnTo>
                  <a:pt x="3629" y="327250"/>
                </a:lnTo>
                <a:lnTo>
                  <a:pt x="0" y="285114"/>
                </a:lnTo>
                <a:close/>
              </a:path>
            </a:pathLst>
          </a:custGeom>
          <a:ln w="12700">
            <a:solidFill>
              <a:srgbClr val="FFFF00"/>
            </a:solidFill>
          </a:ln>
        </p:spPr>
        <p:txBody>
          <a:bodyPr wrap="square" lIns="0" tIns="0" rIns="0" bIns="0" rtlCol="0"/>
          <a:lstStyle/>
          <a:p>
            <a:endParaRPr/>
          </a:p>
        </p:txBody>
      </p:sp>
      <p:sp>
        <p:nvSpPr>
          <p:cNvPr id="15" name="object 15"/>
          <p:cNvSpPr txBox="1"/>
          <p:nvPr/>
        </p:nvSpPr>
        <p:spPr>
          <a:xfrm>
            <a:off x="8208391" y="2720213"/>
            <a:ext cx="370205" cy="225425"/>
          </a:xfrm>
          <a:prstGeom prst="rect">
            <a:avLst/>
          </a:prstGeom>
        </p:spPr>
        <p:txBody>
          <a:bodyPr vert="horz" wrap="square" lIns="0" tIns="0" rIns="0" bIns="0" rtlCol="0">
            <a:spAutoFit/>
          </a:bodyPr>
          <a:lstStyle/>
          <a:p>
            <a:pPr marL="12700">
              <a:lnSpc>
                <a:spcPct val="100000"/>
              </a:lnSpc>
            </a:pPr>
            <a:r>
              <a:rPr sz="1400" b="1" spc="-10" dirty="0">
                <a:latin typeface="Times New Roman"/>
                <a:cs typeface="Times New Roman"/>
              </a:rPr>
              <a:t>DC2</a:t>
            </a:r>
            <a:endParaRPr sz="1400">
              <a:latin typeface="Times New Roman"/>
              <a:cs typeface="Times New Roman"/>
            </a:endParaRPr>
          </a:p>
        </p:txBody>
      </p:sp>
      <p:sp>
        <p:nvSpPr>
          <p:cNvPr id="16" name="object 16"/>
          <p:cNvSpPr/>
          <p:nvPr/>
        </p:nvSpPr>
        <p:spPr>
          <a:xfrm>
            <a:off x="7379716" y="2075307"/>
            <a:ext cx="351155" cy="440690"/>
          </a:xfrm>
          <a:custGeom>
            <a:avLst/>
            <a:gdLst/>
            <a:ahLst/>
            <a:cxnLst/>
            <a:rect l="l" t="t" r="r" b="b"/>
            <a:pathLst>
              <a:path w="351154" h="440689">
                <a:moveTo>
                  <a:pt x="27558" y="304672"/>
                </a:moveTo>
                <a:lnTo>
                  <a:pt x="0" y="440308"/>
                </a:lnTo>
                <a:lnTo>
                  <a:pt x="125094" y="381000"/>
                </a:lnTo>
                <a:lnTo>
                  <a:pt x="113410" y="371855"/>
                </a:lnTo>
                <a:lnTo>
                  <a:pt x="79882" y="371855"/>
                </a:lnTo>
                <a:lnTo>
                  <a:pt x="47370" y="346455"/>
                </a:lnTo>
                <a:lnTo>
                  <a:pt x="60125" y="330158"/>
                </a:lnTo>
                <a:lnTo>
                  <a:pt x="27558" y="304672"/>
                </a:lnTo>
                <a:close/>
              </a:path>
              <a:path w="351154" h="440689">
                <a:moveTo>
                  <a:pt x="60125" y="330158"/>
                </a:moveTo>
                <a:lnTo>
                  <a:pt x="47370" y="346455"/>
                </a:lnTo>
                <a:lnTo>
                  <a:pt x="79882" y="371855"/>
                </a:lnTo>
                <a:lnTo>
                  <a:pt x="92617" y="355584"/>
                </a:lnTo>
                <a:lnTo>
                  <a:pt x="60125" y="330158"/>
                </a:lnTo>
                <a:close/>
              </a:path>
              <a:path w="351154" h="440689">
                <a:moveTo>
                  <a:pt x="92617" y="355584"/>
                </a:moveTo>
                <a:lnTo>
                  <a:pt x="79882" y="371855"/>
                </a:lnTo>
                <a:lnTo>
                  <a:pt x="113410" y="371855"/>
                </a:lnTo>
                <a:lnTo>
                  <a:pt x="92617" y="355584"/>
                </a:lnTo>
                <a:close/>
              </a:path>
              <a:path w="351154" h="440689">
                <a:moveTo>
                  <a:pt x="318515" y="0"/>
                </a:moveTo>
                <a:lnTo>
                  <a:pt x="60125" y="330158"/>
                </a:lnTo>
                <a:lnTo>
                  <a:pt x="92617" y="355584"/>
                </a:lnTo>
                <a:lnTo>
                  <a:pt x="351027" y="25400"/>
                </a:lnTo>
                <a:lnTo>
                  <a:pt x="318515" y="0"/>
                </a:lnTo>
                <a:close/>
              </a:path>
            </a:pathLst>
          </a:custGeom>
          <a:solidFill>
            <a:srgbClr val="000080"/>
          </a:solidFill>
        </p:spPr>
        <p:txBody>
          <a:bodyPr wrap="square" lIns="0" tIns="0" rIns="0" bIns="0" rtlCol="0"/>
          <a:lstStyle/>
          <a:p>
            <a:endParaRPr/>
          </a:p>
        </p:txBody>
      </p:sp>
      <p:sp>
        <p:nvSpPr>
          <p:cNvPr id="17" name="object 17"/>
          <p:cNvSpPr/>
          <p:nvPr/>
        </p:nvSpPr>
        <p:spPr>
          <a:xfrm>
            <a:off x="8020557" y="2061845"/>
            <a:ext cx="351155" cy="440690"/>
          </a:xfrm>
          <a:custGeom>
            <a:avLst/>
            <a:gdLst/>
            <a:ahLst/>
            <a:cxnLst/>
            <a:rect l="l" t="t" r="r" b="b"/>
            <a:pathLst>
              <a:path w="351154" h="440689">
                <a:moveTo>
                  <a:pt x="258410" y="355711"/>
                </a:moveTo>
                <a:lnTo>
                  <a:pt x="225933" y="381126"/>
                </a:lnTo>
                <a:lnTo>
                  <a:pt x="351027" y="440435"/>
                </a:lnTo>
                <a:lnTo>
                  <a:pt x="337119" y="371982"/>
                </a:lnTo>
                <a:lnTo>
                  <a:pt x="271145" y="371982"/>
                </a:lnTo>
                <a:lnTo>
                  <a:pt x="258410" y="355711"/>
                </a:lnTo>
                <a:close/>
              </a:path>
              <a:path w="351154" h="440689">
                <a:moveTo>
                  <a:pt x="290963" y="330237"/>
                </a:moveTo>
                <a:lnTo>
                  <a:pt x="258410" y="355711"/>
                </a:lnTo>
                <a:lnTo>
                  <a:pt x="271145" y="371982"/>
                </a:lnTo>
                <a:lnTo>
                  <a:pt x="303657" y="346455"/>
                </a:lnTo>
                <a:lnTo>
                  <a:pt x="290963" y="330237"/>
                </a:lnTo>
                <a:close/>
              </a:path>
              <a:path w="351154" h="440689">
                <a:moveTo>
                  <a:pt x="323469" y="304800"/>
                </a:moveTo>
                <a:lnTo>
                  <a:pt x="290963" y="330237"/>
                </a:lnTo>
                <a:lnTo>
                  <a:pt x="303657" y="346455"/>
                </a:lnTo>
                <a:lnTo>
                  <a:pt x="271145" y="371982"/>
                </a:lnTo>
                <a:lnTo>
                  <a:pt x="337119" y="371982"/>
                </a:lnTo>
                <a:lnTo>
                  <a:pt x="323469" y="304800"/>
                </a:lnTo>
                <a:close/>
              </a:path>
              <a:path w="351154" h="440689">
                <a:moveTo>
                  <a:pt x="32512" y="0"/>
                </a:moveTo>
                <a:lnTo>
                  <a:pt x="0" y="25526"/>
                </a:lnTo>
                <a:lnTo>
                  <a:pt x="258410" y="355711"/>
                </a:lnTo>
                <a:lnTo>
                  <a:pt x="290963" y="330237"/>
                </a:lnTo>
                <a:lnTo>
                  <a:pt x="32512" y="0"/>
                </a:lnTo>
                <a:close/>
              </a:path>
            </a:pathLst>
          </a:custGeom>
          <a:solidFill>
            <a:srgbClr val="000080"/>
          </a:solidFill>
        </p:spPr>
        <p:txBody>
          <a:bodyPr wrap="square" lIns="0" tIns="0" rIns="0" bIns="0" rtlCol="0"/>
          <a:lstStyle/>
          <a:p>
            <a:endParaRPr/>
          </a:p>
        </p:txBody>
      </p:sp>
      <p:sp>
        <p:nvSpPr>
          <p:cNvPr id="18" name="object 18"/>
          <p:cNvSpPr/>
          <p:nvPr/>
        </p:nvSpPr>
        <p:spPr>
          <a:xfrm>
            <a:off x="4191000" y="1295400"/>
            <a:ext cx="2286000" cy="2133600"/>
          </a:xfrm>
          <a:custGeom>
            <a:avLst/>
            <a:gdLst/>
            <a:ahLst/>
            <a:cxnLst/>
            <a:rect l="l" t="t" r="r" b="b"/>
            <a:pathLst>
              <a:path w="2286000" h="2133600">
                <a:moveTo>
                  <a:pt x="1143000" y="0"/>
                </a:moveTo>
                <a:lnTo>
                  <a:pt x="1093414" y="985"/>
                </a:lnTo>
                <a:lnTo>
                  <a:pt x="1044369" y="3915"/>
                </a:lnTo>
                <a:lnTo>
                  <a:pt x="995907" y="8750"/>
                </a:lnTo>
                <a:lnTo>
                  <a:pt x="948070" y="15450"/>
                </a:lnTo>
                <a:lnTo>
                  <a:pt x="900902" y="23974"/>
                </a:lnTo>
                <a:lnTo>
                  <a:pt x="854446" y="34283"/>
                </a:lnTo>
                <a:lnTo>
                  <a:pt x="808743" y="46336"/>
                </a:lnTo>
                <a:lnTo>
                  <a:pt x="763838" y="60093"/>
                </a:lnTo>
                <a:lnTo>
                  <a:pt x="719773" y="75515"/>
                </a:lnTo>
                <a:lnTo>
                  <a:pt x="676591" y="92561"/>
                </a:lnTo>
                <a:lnTo>
                  <a:pt x="634334" y="111192"/>
                </a:lnTo>
                <a:lnTo>
                  <a:pt x="593047" y="131366"/>
                </a:lnTo>
                <a:lnTo>
                  <a:pt x="552770" y="153045"/>
                </a:lnTo>
                <a:lnTo>
                  <a:pt x="513549" y="176189"/>
                </a:lnTo>
                <a:lnTo>
                  <a:pt x="475424" y="200756"/>
                </a:lnTo>
                <a:lnTo>
                  <a:pt x="438440" y="226708"/>
                </a:lnTo>
                <a:lnTo>
                  <a:pt x="402638" y="254003"/>
                </a:lnTo>
                <a:lnTo>
                  <a:pt x="368062" y="282603"/>
                </a:lnTo>
                <a:lnTo>
                  <a:pt x="334756" y="312467"/>
                </a:lnTo>
                <a:lnTo>
                  <a:pt x="302760" y="343555"/>
                </a:lnTo>
                <a:lnTo>
                  <a:pt x="272120" y="375827"/>
                </a:lnTo>
                <a:lnTo>
                  <a:pt x="242876" y="409242"/>
                </a:lnTo>
                <a:lnTo>
                  <a:pt x="215073" y="443762"/>
                </a:lnTo>
                <a:lnTo>
                  <a:pt x="188753" y="479346"/>
                </a:lnTo>
                <a:lnTo>
                  <a:pt x="163958" y="515953"/>
                </a:lnTo>
                <a:lnTo>
                  <a:pt x="140733" y="553544"/>
                </a:lnTo>
                <a:lnTo>
                  <a:pt x="119119" y="592079"/>
                </a:lnTo>
                <a:lnTo>
                  <a:pt x="99160" y="631517"/>
                </a:lnTo>
                <a:lnTo>
                  <a:pt x="80898" y="671820"/>
                </a:lnTo>
                <a:lnTo>
                  <a:pt x="64377" y="712946"/>
                </a:lnTo>
                <a:lnTo>
                  <a:pt x="49638" y="754855"/>
                </a:lnTo>
                <a:lnTo>
                  <a:pt x="36726" y="797508"/>
                </a:lnTo>
                <a:lnTo>
                  <a:pt x="25683" y="840865"/>
                </a:lnTo>
                <a:lnTo>
                  <a:pt x="16551" y="884885"/>
                </a:lnTo>
                <a:lnTo>
                  <a:pt x="9374" y="929528"/>
                </a:lnTo>
                <a:lnTo>
                  <a:pt x="4195" y="974755"/>
                </a:lnTo>
                <a:lnTo>
                  <a:pt x="1055" y="1020526"/>
                </a:lnTo>
                <a:lnTo>
                  <a:pt x="0" y="1066800"/>
                </a:lnTo>
                <a:lnTo>
                  <a:pt x="1055" y="1113073"/>
                </a:lnTo>
                <a:lnTo>
                  <a:pt x="4195" y="1158844"/>
                </a:lnTo>
                <a:lnTo>
                  <a:pt x="9374" y="1204071"/>
                </a:lnTo>
                <a:lnTo>
                  <a:pt x="16551" y="1248714"/>
                </a:lnTo>
                <a:lnTo>
                  <a:pt x="25683" y="1292734"/>
                </a:lnTo>
                <a:lnTo>
                  <a:pt x="36726" y="1336091"/>
                </a:lnTo>
                <a:lnTo>
                  <a:pt x="49638" y="1378744"/>
                </a:lnTo>
                <a:lnTo>
                  <a:pt x="64377" y="1420653"/>
                </a:lnTo>
                <a:lnTo>
                  <a:pt x="80898" y="1461779"/>
                </a:lnTo>
                <a:lnTo>
                  <a:pt x="99160" y="1502082"/>
                </a:lnTo>
                <a:lnTo>
                  <a:pt x="119119" y="1541520"/>
                </a:lnTo>
                <a:lnTo>
                  <a:pt x="140733" y="1580055"/>
                </a:lnTo>
                <a:lnTo>
                  <a:pt x="163958" y="1617646"/>
                </a:lnTo>
                <a:lnTo>
                  <a:pt x="188753" y="1654253"/>
                </a:lnTo>
                <a:lnTo>
                  <a:pt x="215073" y="1689837"/>
                </a:lnTo>
                <a:lnTo>
                  <a:pt x="242876" y="1724357"/>
                </a:lnTo>
                <a:lnTo>
                  <a:pt x="272120" y="1757772"/>
                </a:lnTo>
                <a:lnTo>
                  <a:pt x="302760" y="1790044"/>
                </a:lnTo>
                <a:lnTo>
                  <a:pt x="334756" y="1821132"/>
                </a:lnTo>
                <a:lnTo>
                  <a:pt x="368062" y="1850996"/>
                </a:lnTo>
                <a:lnTo>
                  <a:pt x="402638" y="1879596"/>
                </a:lnTo>
                <a:lnTo>
                  <a:pt x="438440" y="1906891"/>
                </a:lnTo>
                <a:lnTo>
                  <a:pt x="475424" y="1932843"/>
                </a:lnTo>
                <a:lnTo>
                  <a:pt x="513549" y="1957410"/>
                </a:lnTo>
                <a:lnTo>
                  <a:pt x="552770" y="1980554"/>
                </a:lnTo>
                <a:lnTo>
                  <a:pt x="593047" y="2002233"/>
                </a:lnTo>
                <a:lnTo>
                  <a:pt x="634334" y="2022407"/>
                </a:lnTo>
                <a:lnTo>
                  <a:pt x="676591" y="2041038"/>
                </a:lnTo>
                <a:lnTo>
                  <a:pt x="719773" y="2058084"/>
                </a:lnTo>
                <a:lnTo>
                  <a:pt x="763838" y="2073506"/>
                </a:lnTo>
                <a:lnTo>
                  <a:pt x="808743" y="2087263"/>
                </a:lnTo>
                <a:lnTo>
                  <a:pt x="854446" y="2099316"/>
                </a:lnTo>
                <a:lnTo>
                  <a:pt x="900902" y="2109625"/>
                </a:lnTo>
                <a:lnTo>
                  <a:pt x="948070" y="2118149"/>
                </a:lnTo>
                <a:lnTo>
                  <a:pt x="995907" y="2124849"/>
                </a:lnTo>
                <a:lnTo>
                  <a:pt x="1044369" y="2129684"/>
                </a:lnTo>
                <a:lnTo>
                  <a:pt x="1093414" y="2132614"/>
                </a:lnTo>
                <a:lnTo>
                  <a:pt x="1143000" y="2133600"/>
                </a:lnTo>
                <a:lnTo>
                  <a:pt x="1192585" y="2132614"/>
                </a:lnTo>
                <a:lnTo>
                  <a:pt x="1241630" y="2129684"/>
                </a:lnTo>
                <a:lnTo>
                  <a:pt x="1290092" y="2124849"/>
                </a:lnTo>
                <a:lnTo>
                  <a:pt x="1337929" y="2118149"/>
                </a:lnTo>
                <a:lnTo>
                  <a:pt x="1385097" y="2109625"/>
                </a:lnTo>
                <a:lnTo>
                  <a:pt x="1431553" y="2099316"/>
                </a:lnTo>
                <a:lnTo>
                  <a:pt x="1477256" y="2087263"/>
                </a:lnTo>
                <a:lnTo>
                  <a:pt x="1522161" y="2073506"/>
                </a:lnTo>
                <a:lnTo>
                  <a:pt x="1566226" y="2058084"/>
                </a:lnTo>
                <a:lnTo>
                  <a:pt x="1609408" y="2041038"/>
                </a:lnTo>
                <a:lnTo>
                  <a:pt x="1651665" y="2022407"/>
                </a:lnTo>
                <a:lnTo>
                  <a:pt x="1692952" y="2002233"/>
                </a:lnTo>
                <a:lnTo>
                  <a:pt x="1733229" y="1980554"/>
                </a:lnTo>
                <a:lnTo>
                  <a:pt x="1772450" y="1957410"/>
                </a:lnTo>
                <a:lnTo>
                  <a:pt x="1810575" y="1932843"/>
                </a:lnTo>
                <a:lnTo>
                  <a:pt x="1847559" y="1906891"/>
                </a:lnTo>
                <a:lnTo>
                  <a:pt x="1883361" y="1879596"/>
                </a:lnTo>
                <a:lnTo>
                  <a:pt x="1917937" y="1850996"/>
                </a:lnTo>
                <a:lnTo>
                  <a:pt x="1951243" y="1821132"/>
                </a:lnTo>
                <a:lnTo>
                  <a:pt x="1983239" y="1790044"/>
                </a:lnTo>
                <a:lnTo>
                  <a:pt x="2013879" y="1757772"/>
                </a:lnTo>
                <a:lnTo>
                  <a:pt x="2043123" y="1724357"/>
                </a:lnTo>
                <a:lnTo>
                  <a:pt x="2070926" y="1689837"/>
                </a:lnTo>
                <a:lnTo>
                  <a:pt x="2097246" y="1654253"/>
                </a:lnTo>
                <a:lnTo>
                  <a:pt x="2122041" y="1617646"/>
                </a:lnTo>
                <a:lnTo>
                  <a:pt x="2145266" y="1580055"/>
                </a:lnTo>
                <a:lnTo>
                  <a:pt x="2166880" y="1541520"/>
                </a:lnTo>
                <a:lnTo>
                  <a:pt x="2186839" y="1502082"/>
                </a:lnTo>
                <a:lnTo>
                  <a:pt x="2205101" y="1461779"/>
                </a:lnTo>
                <a:lnTo>
                  <a:pt x="2221622" y="1420653"/>
                </a:lnTo>
                <a:lnTo>
                  <a:pt x="2236361" y="1378744"/>
                </a:lnTo>
                <a:lnTo>
                  <a:pt x="2249273" y="1336091"/>
                </a:lnTo>
                <a:lnTo>
                  <a:pt x="2260316" y="1292734"/>
                </a:lnTo>
                <a:lnTo>
                  <a:pt x="2269448" y="1248714"/>
                </a:lnTo>
                <a:lnTo>
                  <a:pt x="2276625" y="1204071"/>
                </a:lnTo>
                <a:lnTo>
                  <a:pt x="2281804" y="1158844"/>
                </a:lnTo>
                <a:lnTo>
                  <a:pt x="2284944" y="1113073"/>
                </a:lnTo>
                <a:lnTo>
                  <a:pt x="2286000" y="1066800"/>
                </a:lnTo>
                <a:lnTo>
                  <a:pt x="2284944" y="1020526"/>
                </a:lnTo>
                <a:lnTo>
                  <a:pt x="2281804" y="974755"/>
                </a:lnTo>
                <a:lnTo>
                  <a:pt x="2276625" y="929528"/>
                </a:lnTo>
                <a:lnTo>
                  <a:pt x="2269448" y="884885"/>
                </a:lnTo>
                <a:lnTo>
                  <a:pt x="2260316" y="840865"/>
                </a:lnTo>
                <a:lnTo>
                  <a:pt x="2249273" y="797508"/>
                </a:lnTo>
                <a:lnTo>
                  <a:pt x="2236361" y="754855"/>
                </a:lnTo>
                <a:lnTo>
                  <a:pt x="2221622" y="712946"/>
                </a:lnTo>
                <a:lnTo>
                  <a:pt x="2205101" y="671820"/>
                </a:lnTo>
                <a:lnTo>
                  <a:pt x="2186839" y="631517"/>
                </a:lnTo>
                <a:lnTo>
                  <a:pt x="2166880" y="592079"/>
                </a:lnTo>
                <a:lnTo>
                  <a:pt x="2145266" y="553544"/>
                </a:lnTo>
                <a:lnTo>
                  <a:pt x="2122041" y="515953"/>
                </a:lnTo>
                <a:lnTo>
                  <a:pt x="2097246" y="479346"/>
                </a:lnTo>
                <a:lnTo>
                  <a:pt x="2070926" y="443762"/>
                </a:lnTo>
                <a:lnTo>
                  <a:pt x="2043123" y="409242"/>
                </a:lnTo>
                <a:lnTo>
                  <a:pt x="2013879" y="375827"/>
                </a:lnTo>
                <a:lnTo>
                  <a:pt x="1983239" y="343555"/>
                </a:lnTo>
                <a:lnTo>
                  <a:pt x="1951243" y="312467"/>
                </a:lnTo>
                <a:lnTo>
                  <a:pt x="1917937" y="282603"/>
                </a:lnTo>
                <a:lnTo>
                  <a:pt x="1883361" y="254003"/>
                </a:lnTo>
                <a:lnTo>
                  <a:pt x="1847559" y="226708"/>
                </a:lnTo>
                <a:lnTo>
                  <a:pt x="1810575" y="200756"/>
                </a:lnTo>
                <a:lnTo>
                  <a:pt x="1772450" y="176189"/>
                </a:lnTo>
                <a:lnTo>
                  <a:pt x="1733229" y="153045"/>
                </a:lnTo>
                <a:lnTo>
                  <a:pt x="1692952" y="131366"/>
                </a:lnTo>
                <a:lnTo>
                  <a:pt x="1651665" y="111192"/>
                </a:lnTo>
                <a:lnTo>
                  <a:pt x="1609408" y="92561"/>
                </a:lnTo>
                <a:lnTo>
                  <a:pt x="1566226" y="75515"/>
                </a:lnTo>
                <a:lnTo>
                  <a:pt x="1522161" y="60093"/>
                </a:lnTo>
                <a:lnTo>
                  <a:pt x="1477256" y="46336"/>
                </a:lnTo>
                <a:lnTo>
                  <a:pt x="1431553" y="34283"/>
                </a:lnTo>
                <a:lnTo>
                  <a:pt x="1385097" y="23974"/>
                </a:lnTo>
                <a:lnTo>
                  <a:pt x="1337929" y="15450"/>
                </a:lnTo>
                <a:lnTo>
                  <a:pt x="1290092" y="8750"/>
                </a:lnTo>
                <a:lnTo>
                  <a:pt x="1241630" y="3915"/>
                </a:lnTo>
                <a:lnTo>
                  <a:pt x="1192585" y="985"/>
                </a:lnTo>
                <a:lnTo>
                  <a:pt x="1143000" y="0"/>
                </a:lnTo>
                <a:close/>
              </a:path>
            </a:pathLst>
          </a:custGeom>
          <a:solidFill>
            <a:srgbClr val="AED6FF"/>
          </a:solidFill>
        </p:spPr>
        <p:txBody>
          <a:bodyPr wrap="square" lIns="0" tIns="0" rIns="0" bIns="0" rtlCol="0"/>
          <a:lstStyle/>
          <a:p>
            <a:endParaRPr/>
          </a:p>
        </p:txBody>
      </p:sp>
      <p:sp>
        <p:nvSpPr>
          <p:cNvPr id="19" name="object 19"/>
          <p:cNvSpPr/>
          <p:nvPr/>
        </p:nvSpPr>
        <p:spPr>
          <a:xfrm>
            <a:off x="4191000" y="1295400"/>
            <a:ext cx="2286000" cy="2133600"/>
          </a:xfrm>
          <a:custGeom>
            <a:avLst/>
            <a:gdLst/>
            <a:ahLst/>
            <a:cxnLst/>
            <a:rect l="l" t="t" r="r" b="b"/>
            <a:pathLst>
              <a:path w="2286000" h="2133600">
                <a:moveTo>
                  <a:pt x="0" y="1066800"/>
                </a:moveTo>
                <a:lnTo>
                  <a:pt x="1055" y="1020526"/>
                </a:lnTo>
                <a:lnTo>
                  <a:pt x="4195" y="974755"/>
                </a:lnTo>
                <a:lnTo>
                  <a:pt x="9374" y="929528"/>
                </a:lnTo>
                <a:lnTo>
                  <a:pt x="16551" y="884885"/>
                </a:lnTo>
                <a:lnTo>
                  <a:pt x="25683" y="840865"/>
                </a:lnTo>
                <a:lnTo>
                  <a:pt x="36726" y="797508"/>
                </a:lnTo>
                <a:lnTo>
                  <a:pt x="49638" y="754855"/>
                </a:lnTo>
                <a:lnTo>
                  <a:pt x="64377" y="712946"/>
                </a:lnTo>
                <a:lnTo>
                  <a:pt x="80898" y="671820"/>
                </a:lnTo>
                <a:lnTo>
                  <a:pt x="99160" y="631517"/>
                </a:lnTo>
                <a:lnTo>
                  <a:pt x="119119" y="592079"/>
                </a:lnTo>
                <a:lnTo>
                  <a:pt x="140733" y="553544"/>
                </a:lnTo>
                <a:lnTo>
                  <a:pt x="163958" y="515953"/>
                </a:lnTo>
                <a:lnTo>
                  <a:pt x="188753" y="479346"/>
                </a:lnTo>
                <a:lnTo>
                  <a:pt x="215073" y="443762"/>
                </a:lnTo>
                <a:lnTo>
                  <a:pt x="242876" y="409242"/>
                </a:lnTo>
                <a:lnTo>
                  <a:pt x="272120" y="375827"/>
                </a:lnTo>
                <a:lnTo>
                  <a:pt x="302760" y="343555"/>
                </a:lnTo>
                <a:lnTo>
                  <a:pt x="334756" y="312467"/>
                </a:lnTo>
                <a:lnTo>
                  <a:pt x="368062" y="282603"/>
                </a:lnTo>
                <a:lnTo>
                  <a:pt x="402638" y="254003"/>
                </a:lnTo>
                <a:lnTo>
                  <a:pt x="438440" y="226708"/>
                </a:lnTo>
                <a:lnTo>
                  <a:pt x="475424" y="200756"/>
                </a:lnTo>
                <a:lnTo>
                  <a:pt x="513549" y="176189"/>
                </a:lnTo>
                <a:lnTo>
                  <a:pt x="552770" y="153045"/>
                </a:lnTo>
                <a:lnTo>
                  <a:pt x="593047" y="131366"/>
                </a:lnTo>
                <a:lnTo>
                  <a:pt x="634334" y="111192"/>
                </a:lnTo>
                <a:lnTo>
                  <a:pt x="676591" y="92561"/>
                </a:lnTo>
                <a:lnTo>
                  <a:pt x="719773" y="75515"/>
                </a:lnTo>
                <a:lnTo>
                  <a:pt x="763838" y="60093"/>
                </a:lnTo>
                <a:lnTo>
                  <a:pt x="808743" y="46336"/>
                </a:lnTo>
                <a:lnTo>
                  <a:pt x="854446" y="34283"/>
                </a:lnTo>
                <a:lnTo>
                  <a:pt x="900902" y="23974"/>
                </a:lnTo>
                <a:lnTo>
                  <a:pt x="948070" y="15450"/>
                </a:lnTo>
                <a:lnTo>
                  <a:pt x="995907" y="8750"/>
                </a:lnTo>
                <a:lnTo>
                  <a:pt x="1044369" y="3915"/>
                </a:lnTo>
                <a:lnTo>
                  <a:pt x="1093414" y="985"/>
                </a:lnTo>
                <a:lnTo>
                  <a:pt x="1143000" y="0"/>
                </a:lnTo>
                <a:lnTo>
                  <a:pt x="1192585" y="985"/>
                </a:lnTo>
                <a:lnTo>
                  <a:pt x="1241630" y="3915"/>
                </a:lnTo>
                <a:lnTo>
                  <a:pt x="1290092" y="8750"/>
                </a:lnTo>
                <a:lnTo>
                  <a:pt x="1337929" y="15450"/>
                </a:lnTo>
                <a:lnTo>
                  <a:pt x="1385097" y="23974"/>
                </a:lnTo>
                <a:lnTo>
                  <a:pt x="1431553" y="34283"/>
                </a:lnTo>
                <a:lnTo>
                  <a:pt x="1477256" y="46336"/>
                </a:lnTo>
                <a:lnTo>
                  <a:pt x="1522161" y="60093"/>
                </a:lnTo>
                <a:lnTo>
                  <a:pt x="1566226" y="75515"/>
                </a:lnTo>
                <a:lnTo>
                  <a:pt x="1609408" y="92561"/>
                </a:lnTo>
                <a:lnTo>
                  <a:pt x="1651665" y="111192"/>
                </a:lnTo>
                <a:lnTo>
                  <a:pt x="1692952" y="131366"/>
                </a:lnTo>
                <a:lnTo>
                  <a:pt x="1733229" y="153045"/>
                </a:lnTo>
                <a:lnTo>
                  <a:pt x="1772450" y="176189"/>
                </a:lnTo>
                <a:lnTo>
                  <a:pt x="1810575" y="200756"/>
                </a:lnTo>
                <a:lnTo>
                  <a:pt x="1847559" y="226708"/>
                </a:lnTo>
                <a:lnTo>
                  <a:pt x="1883361" y="254003"/>
                </a:lnTo>
                <a:lnTo>
                  <a:pt x="1917937" y="282603"/>
                </a:lnTo>
                <a:lnTo>
                  <a:pt x="1951243" y="312467"/>
                </a:lnTo>
                <a:lnTo>
                  <a:pt x="1983239" y="343555"/>
                </a:lnTo>
                <a:lnTo>
                  <a:pt x="2013879" y="375827"/>
                </a:lnTo>
                <a:lnTo>
                  <a:pt x="2043123" y="409242"/>
                </a:lnTo>
                <a:lnTo>
                  <a:pt x="2070926" y="443762"/>
                </a:lnTo>
                <a:lnTo>
                  <a:pt x="2097246" y="479346"/>
                </a:lnTo>
                <a:lnTo>
                  <a:pt x="2122041" y="515953"/>
                </a:lnTo>
                <a:lnTo>
                  <a:pt x="2145266" y="553544"/>
                </a:lnTo>
                <a:lnTo>
                  <a:pt x="2166880" y="592079"/>
                </a:lnTo>
                <a:lnTo>
                  <a:pt x="2186839" y="631517"/>
                </a:lnTo>
                <a:lnTo>
                  <a:pt x="2205101" y="671820"/>
                </a:lnTo>
                <a:lnTo>
                  <a:pt x="2221622" y="712946"/>
                </a:lnTo>
                <a:lnTo>
                  <a:pt x="2236361" y="754855"/>
                </a:lnTo>
                <a:lnTo>
                  <a:pt x="2249273" y="797508"/>
                </a:lnTo>
                <a:lnTo>
                  <a:pt x="2260316" y="840865"/>
                </a:lnTo>
                <a:lnTo>
                  <a:pt x="2269448" y="884885"/>
                </a:lnTo>
                <a:lnTo>
                  <a:pt x="2276625" y="929528"/>
                </a:lnTo>
                <a:lnTo>
                  <a:pt x="2281804" y="974755"/>
                </a:lnTo>
                <a:lnTo>
                  <a:pt x="2284944" y="1020526"/>
                </a:lnTo>
                <a:lnTo>
                  <a:pt x="2286000" y="1066800"/>
                </a:lnTo>
                <a:lnTo>
                  <a:pt x="2284944" y="1113073"/>
                </a:lnTo>
                <a:lnTo>
                  <a:pt x="2281804" y="1158844"/>
                </a:lnTo>
                <a:lnTo>
                  <a:pt x="2276625" y="1204071"/>
                </a:lnTo>
                <a:lnTo>
                  <a:pt x="2269448" y="1248714"/>
                </a:lnTo>
                <a:lnTo>
                  <a:pt x="2260316" y="1292734"/>
                </a:lnTo>
                <a:lnTo>
                  <a:pt x="2249273" y="1336091"/>
                </a:lnTo>
                <a:lnTo>
                  <a:pt x="2236361" y="1378744"/>
                </a:lnTo>
                <a:lnTo>
                  <a:pt x="2221622" y="1420653"/>
                </a:lnTo>
                <a:lnTo>
                  <a:pt x="2205101" y="1461779"/>
                </a:lnTo>
                <a:lnTo>
                  <a:pt x="2186839" y="1502082"/>
                </a:lnTo>
                <a:lnTo>
                  <a:pt x="2166880" y="1541520"/>
                </a:lnTo>
                <a:lnTo>
                  <a:pt x="2145266" y="1580055"/>
                </a:lnTo>
                <a:lnTo>
                  <a:pt x="2122041" y="1617646"/>
                </a:lnTo>
                <a:lnTo>
                  <a:pt x="2097246" y="1654253"/>
                </a:lnTo>
                <a:lnTo>
                  <a:pt x="2070926" y="1689837"/>
                </a:lnTo>
                <a:lnTo>
                  <a:pt x="2043123" y="1724357"/>
                </a:lnTo>
                <a:lnTo>
                  <a:pt x="2013879" y="1757772"/>
                </a:lnTo>
                <a:lnTo>
                  <a:pt x="1983239" y="1790044"/>
                </a:lnTo>
                <a:lnTo>
                  <a:pt x="1951243" y="1821132"/>
                </a:lnTo>
                <a:lnTo>
                  <a:pt x="1917937" y="1850996"/>
                </a:lnTo>
                <a:lnTo>
                  <a:pt x="1883361" y="1879596"/>
                </a:lnTo>
                <a:lnTo>
                  <a:pt x="1847559" y="1906891"/>
                </a:lnTo>
                <a:lnTo>
                  <a:pt x="1810575" y="1932843"/>
                </a:lnTo>
                <a:lnTo>
                  <a:pt x="1772450" y="1957410"/>
                </a:lnTo>
                <a:lnTo>
                  <a:pt x="1733229" y="1980554"/>
                </a:lnTo>
                <a:lnTo>
                  <a:pt x="1692952" y="2002233"/>
                </a:lnTo>
                <a:lnTo>
                  <a:pt x="1651665" y="2022407"/>
                </a:lnTo>
                <a:lnTo>
                  <a:pt x="1609408" y="2041038"/>
                </a:lnTo>
                <a:lnTo>
                  <a:pt x="1566226" y="2058084"/>
                </a:lnTo>
                <a:lnTo>
                  <a:pt x="1522161" y="2073506"/>
                </a:lnTo>
                <a:lnTo>
                  <a:pt x="1477256" y="2087263"/>
                </a:lnTo>
                <a:lnTo>
                  <a:pt x="1431553" y="2099316"/>
                </a:lnTo>
                <a:lnTo>
                  <a:pt x="1385097" y="2109625"/>
                </a:lnTo>
                <a:lnTo>
                  <a:pt x="1337929" y="2118149"/>
                </a:lnTo>
                <a:lnTo>
                  <a:pt x="1290092" y="2124849"/>
                </a:lnTo>
                <a:lnTo>
                  <a:pt x="1241630" y="2129684"/>
                </a:lnTo>
                <a:lnTo>
                  <a:pt x="1192585" y="2132614"/>
                </a:lnTo>
                <a:lnTo>
                  <a:pt x="1143000" y="2133600"/>
                </a:lnTo>
                <a:lnTo>
                  <a:pt x="1093414" y="2132614"/>
                </a:lnTo>
                <a:lnTo>
                  <a:pt x="1044369" y="2129684"/>
                </a:lnTo>
                <a:lnTo>
                  <a:pt x="995907" y="2124849"/>
                </a:lnTo>
                <a:lnTo>
                  <a:pt x="948070" y="2118149"/>
                </a:lnTo>
                <a:lnTo>
                  <a:pt x="900902" y="2109625"/>
                </a:lnTo>
                <a:lnTo>
                  <a:pt x="854446" y="2099316"/>
                </a:lnTo>
                <a:lnTo>
                  <a:pt x="808743" y="2087263"/>
                </a:lnTo>
                <a:lnTo>
                  <a:pt x="763838" y="2073506"/>
                </a:lnTo>
                <a:lnTo>
                  <a:pt x="719773" y="2058084"/>
                </a:lnTo>
                <a:lnTo>
                  <a:pt x="676591" y="2041038"/>
                </a:lnTo>
                <a:lnTo>
                  <a:pt x="634334" y="2022407"/>
                </a:lnTo>
                <a:lnTo>
                  <a:pt x="593047" y="2002233"/>
                </a:lnTo>
                <a:lnTo>
                  <a:pt x="552770" y="1980554"/>
                </a:lnTo>
                <a:lnTo>
                  <a:pt x="513549" y="1957410"/>
                </a:lnTo>
                <a:lnTo>
                  <a:pt x="475424" y="1932843"/>
                </a:lnTo>
                <a:lnTo>
                  <a:pt x="438440" y="1906891"/>
                </a:lnTo>
                <a:lnTo>
                  <a:pt x="402638" y="1879596"/>
                </a:lnTo>
                <a:lnTo>
                  <a:pt x="368062" y="1850996"/>
                </a:lnTo>
                <a:lnTo>
                  <a:pt x="334756" y="1821132"/>
                </a:lnTo>
                <a:lnTo>
                  <a:pt x="302760" y="1790044"/>
                </a:lnTo>
                <a:lnTo>
                  <a:pt x="272120" y="1757772"/>
                </a:lnTo>
                <a:lnTo>
                  <a:pt x="242876" y="1724357"/>
                </a:lnTo>
                <a:lnTo>
                  <a:pt x="215073" y="1689837"/>
                </a:lnTo>
                <a:lnTo>
                  <a:pt x="188753" y="1654253"/>
                </a:lnTo>
                <a:lnTo>
                  <a:pt x="163958" y="1617646"/>
                </a:lnTo>
                <a:lnTo>
                  <a:pt x="140733" y="1580055"/>
                </a:lnTo>
                <a:lnTo>
                  <a:pt x="119119" y="1541520"/>
                </a:lnTo>
                <a:lnTo>
                  <a:pt x="99160" y="1502082"/>
                </a:lnTo>
                <a:lnTo>
                  <a:pt x="80898" y="1461779"/>
                </a:lnTo>
                <a:lnTo>
                  <a:pt x="64377" y="1420653"/>
                </a:lnTo>
                <a:lnTo>
                  <a:pt x="49638" y="1378744"/>
                </a:lnTo>
                <a:lnTo>
                  <a:pt x="36726" y="1336091"/>
                </a:lnTo>
                <a:lnTo>
                  <a:pt x="25683" y="1292734"/>
                </a:lnTo>
                <a:lnTo>
                  <a:pt x="16551" y="1248714"/>
                </a:lnTo>
                <a:lnTo>
                  <a:pt x="9374" y="1204071"/>
                </a:lnTo>
                <a:lnTo>
                  <a:pt x="4195" y="1158844"/>
                </a:lnTo>
                <a:lnTo>
                  <a:pt x="1055" y="1113073"/>
                </a:lnTo>
                <a:lnTo>
                  <a:pt x="0" y="1066800"/>
                </a:lnTo>
                <a:close/>
              </a:path>
            </a:pathLst>
          </a:custGeom>
          <a:ln w="88900">
            <a:solidFill>
              <a:srgbClr val="000080"/>
            </a:solidFill>
          </a:ln>
        </p:spPr>
        <p:txBody>
          <a:bodyPr wrap="square" lIns="0" tIns="0" rIns="0" bIns="0" rtlCol="0"/>
          <a:lstStyle/>
          <a:p>
            <a:endParaRPr/>
          </a:p>
        </p:txBody>
      </p:sp>
      <p:sp>
        <p:nvSpPr>
          <p:cNvPr id="20" name="object 20"/>
          <p:cNvSpPr/>
          <p:nvPr/>
        </p:nvSpPr>
        <p:spPr>
          <a:xfrm>
            <a:off x="4748276" y="2708275"/>
            <a:ext cx="1177925" cy="620776"/>
          </a:xfrm>
          <a:prstGeom prst="rect">
            <a:avLst/>
          </a:prstGeom>
          <a:blipFill>
            <a:blip r:embed="rId6" cstate="print"/>
            <a:stretch>
              <a:fillRect/>
            </a:stretch>
          </a:blipFill>
        </p:spPr>
        <p:txBody>
          <a:bodyPr wrap="square" lIns="0" tIns="0" rIns="0" bIns="0" rtlCol="0"/>
          <a:lstStyle/>
          <a:p>
            <a:endParaRPr/>
          </a:p>
        </p:txBody>
      </p:sp>
      <p:sp>
        <p:nvSpPr>
          <p:cNvPr id="21" name="object 21"/>
          <p:cNvSpPr/>
          <p:nvPr/>
        </p:nvSpPr>
        <p:spPr>
          <a:xfrm>
            <a:off x="4748276" y="2708275"/>
            <a:ext cx="1177925" cy="621030"/>
          </a:xfrm>
          <a:custGeom>
            <a:avLst/>
            <a:gdLst/>
            <a:ahLst/>
            <a:cxnLst/>
            <a:rect l="l" t="t" r="r" b="b"/>
            <a:pathLst>
              <a:path w="1177925" h="621029">
                <a:moveTo>
                  <a:pt x="0" y="310388"/>
                </a:moveTo>
                <a:lnTo>
                  <a:pt x="11964" y="247826"/>
                </a:lnTo>
                <a:lnTo>
                  <a:pt x="46277" y="189559"/>
                </a:lnTo>
                <a:lnTo>
                  <a:pt x="100572" y="136835"/>
                </a:lnTo>
                <a:lnTo>
                  <a:pt x="134473" y="112941"/>
                </a:lnTo>
                <a:lnTo>
                  <a:pt x="172481" y="90900"/>
                </a:lnTo>
                <a:lnTo>
                  <a:pt x="214301" y="70868"/>
                </a:lnTo>
                <a:lnTo>
                  <a:pt x="259636" y="53002"/>
                </a:lnTo>
                <a:lnTo>
                  <a:pt x="308191" y="37456"/>
                </a:lnTo>
                <a:lnTo>
                  <a:pt x="359669" y="24387"/>
                </a:lnTo>
                <a:lnTo>
                  <a:pt x="413775" y="13952"/>
                </a:lnTo>
                <a:lnTo>
                  <a:pt x="470213" y="6304"/>
                </a:lnTo>
                <a:lnTo>
                  <a:pt x="528686" y="1602"/>
                </a:lnTo>
                <a:lnTo>
                  <a:pt x="588899" y="0"/>
                </a:lnTo>
                <a:lnTo>
                  <a:pt x="649113" y="1602"/>
                </a:lnTo>
                <a:lnTo>
                  <a:pt x="707590" y="6304"/>
                </a:lnTo>
                <a:lnTo>
                  <a:pt x="764033" y="13952"/>
                </a:lnTo>
                <a:lnTo>
                  <a:pt x="818147" y="24387"/>
                </a:lnTo>
                <a:lnTo>
                  <a:pt x="869635" y="37456"/>
                </a:lnTo>
                <a:lnTo>
                  <a:pt x="918201" y="53002"/>
                </a:lnTo>
                <a:lnTo>
                  <a:pt x="963548" y="70868"/>
                </a:lnTo>
                <a:lnTo>
                  <a:pt x="1005379" y="90900"/>
                </a:lnTo>
                <a:lnTo>
                  <a:pt x="1043399" y="112941"/>
                </a:lnTo>
                <a:lnTo>
                  <a:pt x="1077311" y="136835"/>
                </a:lnTo>
                <a:lnTo>
                  <a:pt x="1106820" y="162426"/>
                </a:lnTo>
                <a:lnTo>
                  <a:pt x="1151438" y="218077"/>
                </a:lnTo>
                <a:lnTo>
                  <a:pt x="1174883" y="278648"/>
                </a:lnTo>
                <a:lnTo>
                  <a:pt x="1177925" y="310388"/>
                </a:lnTo>
                <a:lnTo>
                  <a:pt x="1174883" y="342106"/>
                </a:lnTo>
                <a:lnTo>
                  <a:pt x="1165955" y="372913"/>
                </a:lnTo>
                <a:lnTo>
                  <a:pt x="1131627" y="431163"/>
                </a:lnTo>
                <a:lnTo>
                  <a:pt x="1077311" y="483885"/>
                </a:lnTo>
                <a:lnTo>
                  <a:pt x="1043399" y="507782"/>
                </a:lnTo>
                <a:lnTo>
                  <a:pt x="1005379" y="529828"/>
                </a:lnTo>
                <a:lnTo>
                  <a:pt x="963548" y="549866"/>
                </a:lnTo>
                <a:lnTo>
                  <a:pt x="918201" y="567740"/>
                </a:lnTo>
                <a:lnTo>
                  <a:pt x="869635" y="583293"/>
                </a:lnTo>
                <a:lnTo>
                  <a:pt x="818147" y="596370"/>
                </a:lnTo>
                <a:lnTo>
                  <a:pt x="764033" y="606813"/>
                </a:lnTo>
                <a:lnTo>
                  <a:pt x="707590" y="614465"/>
                </a:lnTo>
                <a:lnTo>
                  <a:pt x="649113" y="619172"/>
                </a:lnTo>
                <a:lnTo>
                  <a:pt x="588899" y="620776"/>
                </a:lnTo>
                <a:lnTo>
                  <a:pt x="528686" y="619172"/>
                </a:lnTo>
                <a:lnTo>
                  <a:pt x="470213" y="614465"/>
                </a:lnTo>
                <a:lnTo>
                  <a:pt x="413775" y="606813"/>
                </a:lnTo>
                <a:lnTo>
                  <a:pt x="359669" y="596370"/>
                </a:lnTo>
                <a:lnTo>
                  <a:pt x="308191" y="583293"/>
                </a:lnTo>
                <a:lnTo>
                  <a:pt x="259636" y="567740"/>
                </a:lnTo>
                <a:lnTo>
                  <a:pt x="214301" y="549866"/>
                </a:lnTo>
                <a:lnTo>
                  <a:pt x="172481" y="529828"/>
                </a:lnTo>
                <a:lnTo>
                  <a:pt x="134473" y="507782"/>
                </a:lnTo>
                <a:lnTo>
                  <a:pt x="100572" y="483885"/>
                </a:lnTo>
                <a:lnTo>
                  <a:pt x="71075" y="458293"/>
                </a:lnTo>
                <a:lnTo>
                  <a:pt x="26475" y="402650"/>
                </a:lnTo>
                <a:lnTo>
                  <a:pt x="3040" y="342106"/>
                </a:lnTo>
                <a:lnTo>
                  <a:pt x="0" y="310388"/>
                </a:lnTo>
                <a:close/>
              </a:path>
            </a:pathLst>
          </a:custGeom>
          <a:ln w="12700">
            <a:solidFill>
              <a:srgbClr val="DBFFC8"/>
            </a:solidFill>
          </a:ln>
        </p:spPr>
        <p:txBody>
          <a:bodyPr wrap="square" lIns="0" tIns="0" rIns="0" bIns="0" rtlCol="0"/>
          <a:lstStyle/>
          <a:p>
            <a:endParaRPr/>
          </a:p>
        </p:txBody>
      </p:sp>
      <p:sp>
        <p:nvSpPr>
          <p:cNvPr id="22" name="object 22"/>
          <p:cNvSpPr txBox="1"/>
          <p:nvPr/>
        </p:nvSpPr>
        <p:spPr>
          <a:xfrm>
            <a:off x="5102478" y="2874517"/>
            <a:ext cx="468630" cy="286385"/>
          </a:xfrm>
          <a:prstGeom prst="rect">
            <a:avLst/>
          </a:prstGeom>
        </p:spPr>
        <p:txBody>
          <a:bodyPr vert="horz" wrap="square" lIns="0" tIns="0" rIns="0" bIns="0" rtlCol="0">
            <a:spAutoFit/>
          </a:bodyPr>
          <a:lstStyle/>
          <a:p>
            <a:pPr marL="12700">
              <a:lnSpc>
                <a:spcPct val="100000"/>
              </a:lnSpc>
            </a:pPr>
            <a:r>
              <a:rPr sz="1800" b="1" spc="-10" dirty="0">
                <a:latin typeface="Times New Roman"/>
                <a:cs typeface="Times New Roman"/>
              </a:rPr>
              <a:t>DC1</a:t>
            </a:r>
            <a:endParaRPr sz="1800">
              <a:latin typeface="Times New Roman"/>
              <a:cs typeface="Times New Roman"/>
            </a:endParaRPr>
          </a:p>
        </p:txBody>
      </p:sp>
      <p:sp>
        <p:nvSpPr>
          <p:cNvPr id="23" name="object 23"/>
          <p:cNvSpPr/>
          <p:nvPr/>
        </p:nvSpPr>
        <p:spPr>
          <a:xfrm>
            <a:off x="4468876" y="1600200"/>
            <a:ext cx="692150" cy="550926"/>
          </a:xfrm>
          <a:prstGeom prst="rect">
            <a:avLst/>
          </a:prstGeom>
          <a:blipFill>
            <a:blip r:embed="rId7" cstate="print"/>
            <a:stretch>
              <a:fillRect/>
            </a:stretch>
          </a:blipFill>
        </p:spPr>
        <p:txBody>
          <a:bodyPr wrap="square" lIns="0" tIns="0" rIns="0" bIns="0" rtlCol="0"/>
          <a:lstStyle/>
          <a:p>
            <a:endParaRPr/>
          </a:p>
        </p:txBody>
      </p:sp>
      <p:sp>
        <p:nvSpPr>
          <p:cNvPr id="24" name="object 24"/>
          <p:cNvSpPr/>
          <p:nvPr/>
        </p:nvSpPr>
        <p:spPr>
          <a:xfrm>
            <a:off x="4468876" y="1600200"/>
            <a:ext cx="692150" cy="551180"/>
          </a:xfrm>
          <a:custGeom>
            <a:avLst/>
            <a:gdLst/>
            <a:ahLst/>
            <a:cxnLst/>
            <a:rect l="l" t="t" r="r" b="b"/>
            <a:pathLst>
              <a:path w="692150" h="551180">
                <a:moveTo>
                  <a:pt x="0" y="275463"/>
                </a:moveTo>
                <a:lnTo>
                  <a:pt x="3752" y="234754"/>
                </a:lnTo>
                <a:lnTo>
                  <a:pt x="14652" y="195901"/>
                </a:lnTo>
                <a:lnTo>
                  <a:pt x="32164" y="159329"/>
                </a:lnTo>
                <a:lnTo>
                  <a:pt x="55754" y="125465"/>
                </a:lnTo>
                <a:lnTo>
                  <a:pt x="84885" y="94734"/>
                </a:lnTo>
                <a:lnTo>
                  <a:pt x="119023" y="67562"/>
                </a:lnTo>
                <a:lnTo>
                  <a:pt x="157632" y="44375"/>
                </a:lnTo>
                <a:lnTo>
                  <a:pt x="200177" y="25600"/>
                </a:lnTo>
                <a:lnTo>
                  <a:pt x="246122" y="11661"/>
                </a:lnTo>
                <a:lnTo>
                  <a:pt x="294933" y="2986"/>
                </a:lnTo>
                <a:lnTo>
                  <a:pt x="346075" y="0"/>
                </a:lnTo>
                <a:lnTo>
                  <a:pt x="397187" y="2986"/>
                </a:lnTo>
                <a:lnTo>
                  <a:pt x="445980" y="11661"/>
                </a:lnTo>
                <a:lnTo>
                  <a:pt x="491917" y="25600"/>
                </a:lnTo>
                <a:lnTo>
                  <a:pt x="534461" y="44375"/>
                </a:lnTo>
                <a:lnTo>
                  <a:pt x="573075" y="67562"/>
                </a:lnTo>
                <a:lnTo>
                  <a:pt x="607221" y="94734"/>
                </a:lnTo>
                <a:lnTo>
                  <a:pt x="636363" y="125465"/>
                </a:lnTo>
                <a:lnTo>
                  <a:pt x="659964" y="159329"/>
                </a:lnTo>
                <a:lnTo>
                  <a:pt x="677487" y="195901"/>
                </a:lnTo>
                <a:lnTo>
                  <a:pt x="688394" y="234754"/>
                </a:lnTo>
                <a:lnTo>
                  <a:pt x="692150" y="275463"/>
                </a:lnTo>
                <a:lnTo>
                  <a:pt x="688394" y="316171"/>
                </a:lnTo>
                <a:lnTo>
                  <a:pt x="677487" y="355024"/>
                </a:lnTo>
                <a:lnTo>
                  <a:pt x="659964" y="391596"/>
                </a:lnTo>
                <a:lnTo>
                  <a:pt x="636363" y="425460"/>
                </a:lnTo>
                <a:lnTo>
                  <a:pt x="607221" y="456191"/>
                </a:lnTo>
                <a:lnTo>
                  <a:pt x="573075" y="483363"/>
                </a:lnTo>
                <a:lnTo>
                  <a:pt x="534461" y="506550"/>
                </a:lnTo>
                <a:lnTo>
                  <a:pt x="491917" y="525325"/>
                </a:lnTo>
                <a:lnTo>
                  <a:pt x="445980" y="539264"/>
                </a:lnTo>
                <a:lnTo>
                  <a:pt x="397187" y="547939"/>
                </a:lnTo>
                <a:lnTo>
                  <a:pt x="346075" y="550926"/>
                </a:lnTo>
                <a:lnTo>
                  <a:pt x="294933" y="547939"/>
                </a:lnTo>
                <a:lnTo>
                  <a:pt x="246122" y="539264"/>
                </a:lnTo>
                <a:lnTo>
                  <a:pt x="200177" y="525325"/>
                </a:lnTo>
                <a:lnTo>
                  <a:pt x="157632" y="506550"/>
                </a:lnTo>
                <a:lnTo>
                  <a:pt x="119023" y="483363"/>
                </a:lnTo>
                <a:lnTo>
                  <a:pt x="84885" y="456191"/>
                </a:lnTo>
                <a:lnTo>
                  <a:pt x="55754" y="425460"/>
                </a:lnTo>
                <a:lnTo>
                  <a:pt x="32164" y="391596"/>
                </a:lnTo>
                <a:lnTo>
                  <a:pt x="14652" y="355024"/>
                </a:lnTo>
                <a:lnTo>
                  <a:pt x="3752" y="316171"/>
                </a:lnTo>
                <a:lnTo>
                  <a:pt x="0" y="275463"/>
                </a:lnTo>
                <a:close/>
              </a:path>
            </a:pathLst>
          </a:custGeom>
          <a:ln w="12700">
            <a:solidFill>
              <a:srgbClr val="FFFF00"/>
            </a:solidFill>
          </a:ln>
        </p:spPr>
        <p:txBody>
          <a:bodyPr wrap="square" lIns="0" tIns="0" rIns="0" bIns="0" rtlCol="0"/>
          <a:lstStyle/>
          <a:p>
            <a:endParaRPr/>
          </a:p>
        </p:txBody>
      </p:sp>
      <p:sp>
        <p:nvSpPr>
          <p:cNvPr id="25" name="object 25"/>
          <p:cNvSpPr txBox="1"/>
          <p:nvPr/>
        </p:nvSpPr>
        <p:spPr>
          <a:xfrm>
            <a:off x="4608321" y="1657096"/>
            <a:ext cx="413384" cy="438784"/>
          </a:xfrm>
          <a:prstGeom prst="rect">
            <a:avLst/>
          </a:prstGeom>
        </p:spPr>
        <p:txBody>
          <a:bodyPr vert="horz" wrap="square" lIns="0" tIns="0" rIns="0" bIns="0" rtlCol="0">
            <a:spAutoFit/>
          </a:bodyPr>
          <a:lstStyle/>
          <a:p>
            <a:pPr marL="53340" marR="5080" indent="-41275">
              <a:lnSpc>
                <a:spcPct val="100000"/>
              </a:lnSpc>
            </a:pPr>
            <a:r>
              <a:rPr sz="1400" b="1" dirty="0">
                <a:latin typeface="Times New Roman"/>
                <a:cs typeface="Times New Roman"/>
              </a:rPr>
              <a:t>Sales  </a:t>
            </a:r>
            <a:r>
              <a:rPr sz="1400" b="1" spc="-5" dirty="0">
                <a:latin typeface="Times New Roman"/>
                <a:cs typeface="Times New Roman"/>
              </a:rPr>
              <a:t>Org</a:t>
            </a:r>
            <a:endParaRPr sz="1400">
              <a:latin typeface="Times New Roman"/>
              <a:cs typeface="Times New Roman"/>
            </a:endParaRPr>
          </a:p>
        </p:txBody>
      </p:sp>
      <p:sp>
        <p:nvSpPr>
          <p:cNvPr id="26" name="object 26"/>
          <p:cNvSpPr/>
          <p:nvPr/>
        </p:nvSpPr>
        <p:spPr>
          <a:xfrm>
            <a:off x="5488051" y="1657350"/>
            <a:ext cx="692150" cy="550926"/>
          </a:xfrm>
          <a:prstGeom prst="rect">
            <a:avLst/>
          </a:prstGeom>
          <a:blipFill>
            <a:blip r:embed="rId7" cstate="print"/>
            <a:stretch>
              <a:fillRect/>
            </a:stretch>
          </a:blipFill>
        </p:spPr>
        <p:txBody>
          <a:bodyPr wrap="square" lIns="0" tIns="0" rIns="0" bIns="0" rtlCol="0"/>
          <a:lstStyle/>
          <a:p>
            <a:endParaRPr/>
          </a:p>
        </p:txBody>
      </p:sp>
      <p:sp>
        <p:nvSpPr>
          <p:cNvPr id="27" name="object 27"/>
          <p:cNvSpPr/>
          <p:nvPr/>
        </p:nvSpPr>
        <p:spPr>
          <a:xfrm>
            <a:off x="5488051" y="1657350"/>
            <a:ext cx="692150" cy="551180"/>
          </a:xfrm>
          <a:custGeom>
            <a:avLst/>
            <a:gdLst/>
            <a:ahLst/>
            <a:cxnLst/>
            <a:rect l="l" t="t" r="r" b="b"/>
            <a:pathLst>
              <a:path w="692150" h="551180">
                <a:moveTo>
                  <a:pt x="0" y="275463"/>
                </a:moveTo>
                <a:lnTo>
                  <a:pt x="3752" y="234754"/>
                </a:lnTo>
                <a:lnTo>
                  <a:pt x="14652" y="195901"/>
                </a:lnTo>
                <a:lnTo>
                  <a:pt x="32164" y="159329"/>
                </a:lnTo>
                <a:lnTo>
                  <a:pt x="55754" y="125465"/>
                </a:lnTo>
                <a:lnTo>
                  <a:pt x="84885" y="94734"/>
                </a:lnTo>
                <a:lnTo>
                  <a:pt x="119023" y="67562"/>
                </a:lnTo>
                <a:lnTo>
                  <a:pt x="157632" y="44375"/>
                </a:lnTo>
                <a:lnTo>
                  <a:pt x="200177" y="25600"/>
                </a:lnTo>
                <a:lnTo>
                  <a:pt x="246122" y="11661"/>
                </a:lnTo>
                <a:lnTo>
                  <a:pt x="294933" y="2986"/>
                </a:lnTo>
                <a:lnTo>
                  <a:pt x="346075" y="0"/>
                </a:lnTo>
                <a:lnTo>
                  <a:pt x="397187" y="2986"/>
                </a:lnTo>
                <a:lnTo>
                  <a:pt x="445980" y="11661"/>
                </a:lnTo>
                <a:lnTo>
                  <a:pt x="491917" y="25600"/>
                </a:lnTo>
                <a:lnTo>
                  <a:pt x="534461" y="44375"/>
                </a:lnTo>
                <a:lnTo>
                  <a:pt x="573075" y="67562"/>
                </a:lnTo>
                <a:lnTo>
                  <a:pt x="607221" y="94734"/>
                </a:lnTo>
                <a:lnTo>
                  <a:pt x="636363" y="125465"/>
                </a:lnTo>
                <a:lnTo>
                  <a:pt x="659964" y="159329"/>
                </a:lnTo>
                <a:lnTo>
                  <a:pt x="677487" y="195901"/>
                </a:lnTo>
                <a:lnTo>
                  <a:pt x="688394" y="234754"/>
                </a:lnTo>
                <a:lnTo>
                  <a:pt x="692150" y="275463"/>
                </a:lnTo>
                <a:lnTo>
                  <a:pt x="688394" y="316171"/>
                </a:lnTo>
                <a:lnTo>
                  <a:pt x="677487" y="355024"/>
                </a:lnTo>
                <a:lnTo>
                  <a:pt x="659964" y="391596"/>
                </a:lnTo>
                <a:lnTo>
                  <a:pt x="636363" y="425460"/>
                </a:lnTo>
                <a:lnTo>
                  <a:pt x="607221" y="456191"/>
                </a:lnTo>
                <a:lnTo>
                  <a:pt x="573075" y="483363"/>
                </a:lnTo>
                <a:lnTo>
                  <a:pt x="534461" y="506550"/>
                </a:lnTo>
                <a:lnTo>
                  <a:pt x="491917" y="525325"/>
                </a:lnTo>
                <a:lnTo>
                  <a:pt x="445980" y="539264"/>
                </a:lnTo>
                <a:lnTo>
                  <a:pt x="397187" y="547939"/>
                </a:lnTo>
                <a:lnTo>
                  <a:pt x="346075" y="550926"/>
                </a:lnTo>
                <a:lnTo>
                  <a:pt x="294933" y="547939"/>
                </a:lnTo>
                <a:lnTo>
                  <a:pt x="246122" y="539264"/>
                </a:lnTo>
                <a:lnTo>
                  <a:pt x="200177" y="525325"/>
                </a:lnTo>
                <a:lnTo>
                  <a:pt x="157632" y="506550"/>
                </a:lnTo>
                <a:lnTo>
                  <a:pt x="119023" y="483363"/>
                </a:lnTo>
                <a:lnTo>
                  <a:pt x="84885" y="456191"/>
                </a:lnTo>
                <a:lnTo>
                  <a:pt x="55754" y="425460"/>
                </a:lnTo>
                <a:lnTo>
                  <a:pt x="32164" y="391596"/>
                </a:lnTo>
                <a:lnTo>
                  <a:pt x="14652" y="355024"/>
                </a:lnTo>
                <a:lnTo>
                  <a:pt x="3752" y="316171"/>
                </a:lnTo>
                <a:lnTo>
                  <a:pt x="0" y="275463"/>
                </a:lnTo>
                <a:close/>
              </a:path>
            </a:pathLst>
          </a:custGeom>
          <a:ln w="12700">
            <a:solidFill>
              <a:srgbClr val="FFFF00"/>
            </a:solidFill>
          </a:ln>
        </p:spPr>
        <p:txBody>
          <a:bodyPr wrap="square" lIns="0" tIns="0" rIns="0" bIns="0" rtlCol="0"/>
          <a:lstStyle/>
          <a:p>
            <a:endParaRPr/>
          </a:p>
        </p:txBody>
      </p:sp>
      <p:sp>
        <p:nvSpPr>
          <p:cNvPr id="28" name="object 28"/>
          <p:cNvSpPr txBox="1"/>
          <p:nvPr/>
        </p:nvSpPr>
        <p:spPr>
          <a:xfrm>
            <a:off x="5627623" y="1714119"/>
            <a:ext cx="413384" cy="438784"/>
          </a:xfrm>
          <a:prstGeom prst="rect">
            <a:avLst/>
          </a:prstGeom>
        </p:spPr>
        <p:txBody>
          <a:bodyPr vert="horz" wrap="square" lIns="0" tIns="0" rIns="0" bIns="0" rtlCol="0">
            <a:spAutoFit/>
          </a:bodyPr>
          <a:lstStyle/>
          <a:p>
            <a:pPr marL="53340" marR="5080" indent="-41275">
              <a:lnSpc>
                <a:spcPct val="100000"/>
              </a:lnSpc>
            </a:pPr>
            <a:r>
              <a:rPr sz="1400" b="1" dirty="0">
                <a:latin typeface="Times New Roman"/>
                <a:cs typeface="Times New Roman"/>
              </a:rPr>
              <a:t>Sales  </a:t>
            </a:r>
            <a:r>
              <a:rPr sz="1400" b="1" spc="-5" dirty="0">
                <a:latin typeface="Times New Roman"/>
                <a:cs typeface="Times New Roman"/>
              </a:rPr>
              <a:t>Org</a:t>
            </a:r>
            <a:endParaRPr sz="1400">
              <a:latin typeface="Times New Roman"/>
              <a:cs typeface="Times New Roman"/>
            </a:endParaRPr>
          </a:p>
        </p:txBody>
      </p:sp>
      <p:sp>
        <p:nvSpPr>
          <p:cNvPr id="29" name="object 29"/>
          <p:cNvSpPr/>
          <p:nvPr/>
        </p:nvSpPr>
        <p:spPr>
          <a:xfrm>
            <a:off x="5595111" y="2190750"/>
            <a:ext cx="198120" cy="539115"/>
          </a:xfrm>
          <a:custGeom>
            <a:avLst/>
            <a:gdLst/>
            <a:ahLst/>
            <a:cxnLst/>
            <a:rect l="l" t="t" r="r" b="b"/>
            <a:pathLst>
              <a:path w="198120" h="539114">
                <a:moveTo>
                  <a:pt x="118415" y="113413"/>
                </a:moveTo>
                <a:lnTo>
                  <a:pt x="0" y="527685"/>
                </a:lnTo>
                <a:lnTo>
                  <a:pt x="39750" y="539114"/>
                </a:lnTo>
                <a:lnTo>
                  <a:pt x="158161" y="124739"/>
                </a:lnTo>
                <a:lnTo>
                  <a:pt x="118415" y="113413"/>
                </a:lnTo>
                <a:close/>
              </a:path>
              <a:path w="198120" h="539114">
                <a:moveTo>
                  <a:pt x="189778" y="93599"/>
                </a:moveTo>
                <a:lnTo>
                  <a:pt x="124078" y="93599"/>
                </a:lnTo>
                <a:lnTo>
                  <a:pt x="163829" y="104901"/>
                </a:lnTo>
                <a:lnTo>
                  <a:pt x="158161" y="124739"/>
                </a:lnTo>
                <a:lnTo>
                  <a:pt x="197738" y="136016"/>
                </a:lnTo>
                <a:lnTo>
                  <a:pt x="189778" y="93599"/>
                </a:lnTo>
                <a:close/>
              </a:path>
              <a:path w="198120" h="539114">
                <a:moveTo>
                  <a:pt x="124078" y="93599"/>
                </a:moveTo>
                <a:lnTo>
                  <a:pt x="118415" y="113413"/>
                </a:lnTo>
                <a:lnTo>
                  <a:pt x="158161" y="124739"/>
                </a:lnTo>
                <a:lnTo>
                  <a:pt x="163829" y="104901"/>
                </a:lnTo>
                <a:lnTo>
                  <a:pt x="124078" y="93599"/>
                </a:lnTo>
                <a:close/>
              </a:path>
              <a:path w="198120" h="539114">
                <a:moveTo>
                  <a:pt x="172212" y="0"/>
                </a:moveTo>
                <a:lnTo>
                  <a:pt x="78739" y="102108"/>
                </a:lnTo>
                <a:lnTo>
                  <a:pt x="118415" y="113413"/>
                </a:lnTo>
                <a:lnTo>
                  <a:pt x="124078" y="93599"/>
                </a:lnTo>
                <a:lnTo>
                  <a:pt x="189778" y="93599"/>
                </a:lnTo>
                <a:lnTo>
                  <a:pt x="172212" y="0"/>
                </a:lnTo>
                <a:close/>
              </a:path>
            </a:pathLst>
          </a:custGeom>
          <a:solidFill>
            <a:srgbClr val="000080"/>
          </a:solidFill>
        </p:spPr>
        <p:txBody>
          <a:bodyPr wrap="square" lIns="0" tIns="0" rIns="0" bIns="0" rtlCol="0"/>
          <a:lstStyle/>
          <a:p>
            <a:endParaRPr/>
          </a:p>
        </p:txBody>
      </p:sp>
      <p:sp>
        <p:nvSpPr>
          <p:cNvPr id="30" name="object 30"/>
          <p:cNvSpPr/>
          <p:nvPr/>
        </p:nvSpPr>
        <p:spPr>
          <a:xfrm>
            <a:off x="4837303" y="2128773"/>
            <a:ext cx="202565" cy="614680"/>
          </a:xfrm>
          <a:custGeom>
            <a:avLst/>
            <a:gdLst/>
            <a:ahLst/>
            <a:cxnLst/>
            <a:rect l="l" t="t" r="r" b="b"/>
            <a:pathLst>
              <a:path w="202564" h="614680">
                <a:moveTo>
                  <a:pt x="80069" y="115174"/>
                </a:moveTo>
                <a:lnTo>
                  <a:pt x="39945" y="125236"/>
                </a:lnTo>
                <a:lnTo>
                  <a:pt x="162306" y="614679"/>
                </a:lnTo>
                <a:lnTo>
                  <a:pt x="202437" y="604647"/>
                </a:lnTo>
                <a:lnTo>
                  <a:pt x="80069" y="115174"/>
                </a:lnTo>
                <a:close/>
              </a:path>
              <a:path w="202564" h="614680">
                <a:moveTo>
                  <a:pt x="29972" y="0"/>
                </a:moveTo>
                <a:lnTo>
                  <a:pt x="0" y="135254"/>
                </a:lnTo>
                <a:lnTo>
                  <a:pt x="39945" y="125236"/>
                </a:lnTo>
                <a:lnTo>
                  <a:pt x="34925" y="105155"/>
                </a:lnTo>
                <a:lnTo>
                  <a:pt x="75057" y="95123"/>
                </a:lnTo>
                <a:lnTo>
                  <a:pt x="111423" y="95123"/>
                </a:lnTo>
                <a:lnTo>
                  <a:pt x="29972" y="0"/>
                </a:lnTo>
                <a:close/>
              </a:path>
              <a:path w="202564" h="614680">
                <a:moveTo>
                  <a:pt x="75057" y="95123"/>
                </a:moveTo>
                <a:lnTo>
                  <a:pt x="34925" y="105155"/>
                </a:lnTo>
                <a:lnTo>
                  <a:pt x="39945" y="125236"/>
                </a:lnTo>
                <a:lnTo>
                  <a:pt x="80069" y="115174"/>
                </a:lnTo>
                <a:lnTo>
                  <a:pt x="75057" y="95123"/>
                </a:lnTo>
                <a:close/>
              </a:path>
              <a:path w="202564" h="614680">
                <a:moveTo>
                  <a:pt x="111423" y="95123"/>
                </a:moveTo>
                <a:lnTo>
                  <a:pt x="75057" y="95123"/>
                </a:lnTo>
                <a:lnTo>
                  <a:pt x="80069" y="115174"/>
                </a:lnTo>
                <a:lnTo>
                  <a:pt x="120014" y="105155"/>
                </a:lnTo>
                <a:lnTo>
                  <a:pt x="111423" y="95123"/>
                </a:lnTo>
                <a:close/>
              </a:path>
            </a:pathLst>
          </a:custGeom>
          <a:solidFill>
            <a:srgbClr val="000080"/>
          </a:solidFill>
        </p:spPr>
        <p:txBody>
          <a:bodyPr wrap="square" lIns="0" tIns="0" rIns="0" bIns="0" rtlCol="0"/>
          <a:lstStyle/>
          <a:p>
            <a:endParaRPr/>
          </a:p>
        </p:txBody>
      </p:sp>
      <p:sp>
        <p:nvSpPr>
          <p:cNvPr id="31" name="object 31"/>
          <p:cNvSpPr txBox="1"/>
          <p:nvPr/>
        </p:nvSpPr>
        <p:spPr>
          <a:xfrm>
            <a:off x="231140" y="4118736"/>
            <a:ext cx="8303259" cy="1938992"/>
          </a:xfrm>
          <a:prstGeom prst="rect">
            <a:avLst/>
          </a:prstGeom>
        </p:spPr>
        <p:txBody>
          <a:bodyPr vert="horz" wrap="square" lIns="0" tIns="0" rIns="0" bIns="0" rtlCol="0">
            <a:spAutoFit/>
          </a:bodyPr>
          <a:lstStyle/>
          <a:p>
            <a:pPr marL="4264660" marR="5080">
              <a:lnSpc>
                <a:spcPct val="100000"/>
              </a:lnSpc>
            </a:pPr>
            <a:r>
              <a:rPr sz="2200" spc="-5" dirty="0" smtClean="0">
                <a:latin typeface="Arial"/>
                <a:cs typeface="Arial"/>
              </a:rPr>
              <a:t>A Distribution Channel can  </a:t>
            </a:r>
            <a:r>
              <a:rPr sz="2200" dirty="0" smtClean="0">
                <a:latin typeface="Arial"/>
                <a:cs typeface="Arial"/>
              </a:rPr>
              <a:t>be </a:t>
            </a:r>
            <a:r>
              <a:rPr sz="2200" spc="-5" dirty="0" smtClean="0">
                <a:latin typeface="Arial"/>
                <a:cs typeface="Arial"/>
              </a:rPr>
              <a:t>assigned </a:t>
            </a:r>
            <a:r>
              <a:rPr sz="2200" dirty="0" smtClean="0">
                <a:latin typeface="Arial"/>
                <a:cs typeface="Arial"/>
              </a:rPr>
              <a:t>to </a:t>
            </a:r>
            <a:r>
              <a:rPr sz="2200" spc="-5" dirty="0" smtClean="0">
                <a:latin typeface="Arial"/>
                <a:cs typeface="Arial"/>
              </a:rPr>
              <a:t>one </a:t>
            </a:r>
            <a:r>
              <a:rPr sz="2200" dirty="0" smtClean="0">
                <a:latin typeface="Arial"/>
                <a:cs typeface="Arial"/>
              </a:rPr>
              <a:t>or</a:t>
            </a:r>
            <a:r>
              <a:rPr sz="2200" spc="-80" dirty="0" smtClean="0">
                <a:latin typeface="Arial"/>
                <a:cs typeface="Arial"/>
              </a:rPr>
              <a:t> </a:t>
            </a:r>
            <a:r>
              <a:rPr sz="2200" spc="-5" dirty="0" smtClean="0">
                <a:latin typeface="Arial"/>
                <a:cs typeface="Arial"/>
              </a:rPr>
              <a:t>many  Sales </a:t>
            </a:r>
            <a:r>
              <a:rPr sz="2200" dirty="0" smtClean="0">
                <a:latin typeface="Arial"/>
                <a:cs typeface="Arial"/>
              </a:rPr>
              <a:t>Organizations and  </a:t>
            </a:r>
            <a:r>
              <a:rPr sz="2200" spc="-5" dirty="0" smtClean="0">
                <a:latin typeface="Arial"/>
                <a:cs typeface="Arial"/>
              </a:rPr>
              <a:t>visa</a:t>
            </a:r>
            <a:r>
              <a:rPr sz="2200" spc="-70" dirty="0" smtClean="0">
                <a:latin typeface="Arial"/>
                <a:cs typeface="Arial"/>
              </a:rPr>
              <a:t> </a:t>
            </a:r>
            <a:r>
              <a:rPr sz="2200" spc="-5" dirty="0" smtClean="0">
                <a:latin typeface="Arial"/>
                <a:cs typeface="Arial"/>
              </a:rPr>
              <a:t>versa</a:t>
            </a:r>
            <a:endParaRPr lang="en-US" sz="2200" spc="-5" dirty="0" smtClean="0">
              <a:latin typeface="Arial"/>
              <a:cs typeface="Arial"/>
            </a:endParaRPr>
          </a:p>
          <a:p>
            <a:pPr marL="4264660" marR="5080">
              <a:lnSpc>
                <a:spcPct val="100000"/>
              </a:lnSpc>
            </a:pPr>
            <a:endParaRPr sz="2200" dirty="0">
              <a:latin typeface="Arial"/>
              <a:cs typeface="Arial"/>
            </a:endParaRPr>
          </a:p>
          <a:p>
            <a:pPr>
              <a:lnSpc>
                <a:spcPct val="100000"/>
              </a:lnSpc>
              <a:spcBef>
                <a:spcPts val="15"/>
              </a:spcBef>
            </a:pPr>
            <a:endParaRPr sz="2000" dirty="0">
              <a:latin typeface="Times New Roman"/>
              <a:cs typeface="Times New Roman"/>
            </a:endParaRPr>
          </a:p>
          <a:p>
            <a:pPr marL="12700">
              <a:lnSpc>
                <a:spcPct val="100000"/>
              </a:lnSpc>
            </a:pPr>
            <a:r>
              <a:rPr sz="1800" b="1" spc="-5" dirty="0">
                <a:latin typeface="Arial"/>
                <a:cs typeface="Arial"/>
              </a:rPr>
              <a:t>Display </a:t>
            </a:r>
            <a:r>
              <a:rPr sz="1800" b="1" dirty="0">
                <a:latin typeface="Arial"/>
                <a:cs typeface="Arial"/>
              </a:rPr>
              <a:t>IMG</a:t>
            </a:r>
            <a:r>
              <a:rPr sz="1800" b="1" dirty="0">
                <a:latin typeface="Wingdings"/>
                <a:cs typeface="Wingdings"/>
              </a:rPr>
              <a:t></a:t>
            </a:r>
            <a:r>
              <a:rPr sz="1800" b="1" dirty="0">
                <a:latin typeface="Times New Roman"/>
                <a:cs typeface="Times New Roman"/>
              </a:rPr>
              <a:t> </a:t>
            </a:r>
            <a:r>
              <a:rPr sz="1800" b="1" spc="-5" dirty="0">
                <a:latin typeface="Arial"/>
                <a:cs typeface="Arial"/>
              </a:rPr>
              <a:t>Enterprise Structure</a:t>
            </a:r>
            <a:r>
              <a:rPr sz="1800" b="1" spc="-5" dirty="0">
                <a:latin typeface="Wingdings"/>
                <a:cs typeface="Wingdings"/>
              </a:rPr>
              <a:t></a:t>
            </a:r>
            <a:r>
              <a:rPr sz="1800" b="1" spc="-5" dirty="0">
                <a:latin typeface="Times New Roman"/>
                <a:cs typeface="Times New Roman"/>
              </a:rPr>
              <a:t> </a:t>
            </a:r>
            <a:r>
              <a:rPr sz="1800" b="1" spc="-5" dirty="0">
                <a:latin typeface="Arial"/>
                <a:cs typeface="Arial"/>
              </a:rPr>
              <a:t>Assignment </a:t>
            </a:r>
            <a:r>
              <a:rPr sz="1800" b="1" spc="-5" dirty="0">
                <a:latin typeface="Wingdings"/>
                <a:cs typeface="Wingdings"/>
              </a:rPr>
              <a:t></a:t>
            </a:r>
            <a:r>
              <a:rPr sz="1800" b="1" spc="-5" dirty="0">
                <a:latin typeface="Arial"/>
                <a:cs typeface="Arial"/>
              </a:rPr>
              <a:t>Sales </a:t>
            </a:r>
            <a:r>
              <a:rPr sz="1800" b="1" dirty="0">
                <a:latin typeface="Arial"/>
                <a:cs typeface="Arial"/>
              </a:rPr>
              <a:t>and</a:t>
            </a:r>
            <a:r>
              <a:rPr sz="1800" b="1" spc="110" dirty="0">
                <a:latin typeface="Arial"/>
                <a:cs typeface="Arial"/>
              </a:rPr>
              <a:t> </a:t>
            </a:r>
            <a:r>
              <a:rPr sz="1800" b="1" dirty="0">
                <a:latin typeface="Arial"/>
                <a:cs typeface="Arial"/>
              </a:rPr>
              <a:t>Distribution</a:t>
            </a:r>
            <a:endParaRPr sz="1800" dirty="0">
              <a:latin typeface="Arial"/>
              <a:cs typeface="Arial"/>
            </a:endParaRPr>
          </a:p>
        </p:txBody>
      </p:sp>
      <p:sp>
        <p:nvSpPr>
          <p:cNvPr id="32" name="object 32"/>
          <p:cNvSpPr/>
          <p:nvPr/>
        </p:nvSpPr>
        <p:spPr>
          <a:xfrm>
            <a:off x="381000" y="1143000"/>
            <a:ext cx="3657600" cy="4419600"/>
          </a:xfrm>
          <a:prstGeom prst="rect">
            <a:avLst/>
          </a:prstGeom>
          <a:blipFill>
            <a:blip r:embed="rId8" cstate="print"/>
            <a:stretch>
              <a:fillRect/>
            </a:stretch>
          </a:blipFill>
        </p:spPr>
        <p:txBody>
          <a:bodyPr wrap="square" lIns="0" tIns="0" rIns="0" bIns="0" rtlCol="0"/>
          <a:lstStyle/>
          <a:p>
            <a:endParaRPr/>
          </a:p>
        </p:txBody>
      </p:sp>
      <p:sp>
        <p:nvSpPr>
          <p:cNvPr id="33" name="object 33"/>
          <p:cNvSpPr/>
          <p:nvPr/>
        </p:nvSpPr>
        <p:spPr>
          <a:xfrm>
            <a:off x="366712" y="1128649"/>
            <a:ext cx="3686175" cy="4448175"/>
          </a:xfrm>
          <a:custGeom>
            <a:avLst/>
            <a:gdLst/>
            <a:ahLst/>
            <a:cxnLst/>
            <a:rect l="l" t="t" r="r" b="b"/>
            <a:pathLst>
              <a:path w="3686175" h="4448175">
                <a:moveTo>
                  <a:pt x="0" y="4448175"/>
                </a:moveTo>
                <a:lnTo>
                  <a:pt x="3686175" y="4448175"/>
                </a:lnTo>
                <a:lnTo>
                  <a:pt x="3686175" y="0"/>
                </a:lnTo>
                <a:lnTo>
                  <a:pt x="0" y="0"/>
                </a:lnTo>
                <a:lnTo>
                  <a:pt x="0" y="4448175"/>
                </a:lnTo>
                <a:close/>
              </a:path>
            </a:pathLst>
          </a:custGeom>
          <a:ln w="28575">
            <a:solidFill>
              <a:srgbClr val="000000"/>
            </a:solidFill>
          </a:ln>
        </p:spPr>
        <p:txBody>
          <a:bodyPr wrap="square" lIns="0" tIns="0" rIns="0" bIns="0" rtlCol="0"/>
          <a:lstStyle/>
          <a:p>
            <a:endParaRPr/>
          </a:p>
        </p:txBody>
      </p:sp>
      <p:sp>
        <p:nvSpPr>
          <p:cNvPr id="35" name="object 35"/>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29</a:t>
            </a:fld>
            <a:endParaRPr sz="1200">
              <a:latin typeface="Symbol"/>
              <a:cs typeface="Symbo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Content Placeholder 2"/>
          <p:cNvSpPr>
            <a:spLocks noGrp="1"/>
          </p:cNvSpPr>
          <p:nvPr>
            <p:ph idx="1"/>
          </p:nvPr>
        </p:nvSpPr>
        <p:spPr>
          <a:xfrm>
            <a:off x="685800" y="1371600"/>
            <a:ext cx="5858210" cy="4893647"/>
          </a:xfrm>
        </p:spPr>
        <p:txBody>
          <a:bodyPr/>
          <a:lstStyle/>
          <a:p>
            <a:r>
              <a:rPr lang="en-US" altLang="en-US" dirty="0"/>
              <a:t>Assignment of Organizational Units</a:t>
            </a:r>
          </a:p>
          <a:p>
            <a:pPr marL="742950" lvl="1" indent="-285750" algn="l" rtl="0">
              <a:buClr>
                <a:srgbClr val="C00000"/>
              </a:buClr>
              <a:buFont typeface="Arial" panose="020B0604020202020204" pitchFamily="34" charset="0"/>
              <a:buChar char="•"/>
            </a:pPr>
            <a:r>
              <a:rPr lang="en-US" altLang="en-US" kern="1200" dirty="0" smtClean="0">
                <a:solidFill>
                  <a:schemeClr val="tx1"/>
                </a:solidFill>
              </a:rPr>
              <a:t>Configuration</a:t>
            </a:r>
          </a:p>
          <a:p>
            <a:pPr marL="742950" lvl="1" indent="-285750" algn="l" rtl="0">
              <a:buClr>
                <a:srgbClr val="C00000"/>
              </a:buClr>
              <a:buFont typeface="Arial" panose="020B0604020202020204" pitchFamily="34" charset="0"/>
              <a:buChar char="•"/>
            </a:pPr>
            <a:r>
              <a:rPr lang="en-US" altLang="en-US" kern="1200" dirty="0" smtClean="0">
                <a:solidFill>
                  <a:schemeClr val="tx1"/>
                </a:solidFill>
              </a:rPr>
              <a:t>Define Sales Organization</a:t>
            </a:r>
          </a:p>
          <a:p>
            <a:pPr marL="742950" lvl="1" indent="-285750" algn="l" rtl="0">
              <a:buClr>
                <a:srgbClr val="C00000"/>
              </a:buClr>
              <a:buFont typeface="Arial" panose="020B0604020202020204" pitchFamily="34" charset="0"/>
              <a:buChar char="•"/>
            </a:pPr>
            <a:r>
              <a:rPr lang="en-US" altLang="en-US" kern="1200" dirty="0" smtClean="0">
                <a:solidFill>
                  <a:schemeClr val="tx1"/>
                </a:solidFill>
              </a:rPr>
              <a:t>Assign Sales Organization to Company Code</a:t>
            </a:r>
          </a:p>
          <a:p>
            <a:pPr marL="742950" lvl="1" indent="-285750" algn="l" rtl="0">
              <a:buClr>
                <a:srgbClr val="C00000"/>
              </a:buClr>
              <a:buFont typeface="Arial" panose="020B0604020202020204" pitchFamily="34" charset="0"/>
              <a:buChar char="•"/>
            </a:pPr>
            <a:r>
              <a:rPr lang="en-US" altLang="en-US" kern="1200" dirty="0" smtClean="0">
                <a:solidFill>
                  <a:schemeClr val="tx1"/>
                </a:solidFill>
              </a:rPr>
              <a:t>Sales Organization – Uses</a:t>
            </a:r>
          </a:p>
          <a:p>
            <a:pPr marL="742950" lvl="1" indent="-285750" algn="l" rtl="0">
              <a:buClr>
                <a:srgbClr val="C00000"/>
              </a:buClr>
              <a:buFont typeface="Arial" panose="020B0604020202020204" pitchFamily="34" charset="0"/>
              <a:buChar char="•"/>
            </a:pPr>
            <a:r>
              <a:rPr lang="en-US" altLang="en-US" kern="1200" dirty="0" smtClean="0">
                <a:solidFill>
                  <a:schemeClr val="tx1"/>
                </a:solidFill>
              </a:rPr>
              <a:t>Define Distributional Channel</a:t>
            </a:r>
          </a:p>
          <a:p>
            <a:pPr marL="742950" lvl="1" indent="-285750" algn="l" rtl="0">
              <a:buClr>
                <a:srgbClr val="C00000"/>
              </a:buClr>
              <a:buFont typeface="Arial" panose="020B0604020202020204" pitchFamily="34" charset="0"/>
              <a:buChar char="•"/>
            </a:pPr>
            <a:r>
              <a:rPr lang="en-US" altLang="en-US" kern="1200" dirty="0" smtClean="0">
                <a:solidFill>
                  <a:schemeClr val="tx1"/>
                </a:solidFill>
              </a:rPr>
              <a:t>Assign Distribution channel to Sales Organization</a:t>
            </a:r>
          </a:p>
          <a:p>
            <a:pPr marL="742950" lvl="1" indent="-285750" algn="l" rtl="0">
              <a:buClr>
                <a:srgbClr val="C00000"/>
              </a:buClr>
              <a:buFont typeface="Arial" panose="020B0604020202020204" pitchFamily="34" charset="0"/>
              <a:buChar char="•"/>
            </a:pPr>
            <a:r>
              <a:rPr lang="en-US" altLang="en-US" kern="1200" dirty="0" smtClean="0">
                <a:solidFill>
                  <a:schemeClr val="tx1"/>
                </a:solidFill>
              </a:rPr>
              <a:t>Define Division</a:t>
            </a:r>
          </a:p>
          <a:p>
            <a:pPr marL="742950" lvl="1" indent="-285750" algn="l" rtl="0">
              <a:buClr>
                <a:srgbClr val="C00000"/>
              </a:buClr>
              <a:buFont typeface="Arial" panose="020B0604020202020204" pitchFamily="34" charset="0"/>
              <a:buChar char="•"/>
            </a:pPr>
            <a:r>
              <a:rPr lang="en-US" altLang="en-US" kern="1200" dirty="0" smtClean="0">
                <a:solidFill>
                  <a:schemeClr val="tx1"/>
                </a:solidFill>
              </a:rPr>
              <a:t>Assign Division to Sales Organization</a:t>
            </a:r>
          </a:p>
          <a:p>
            <a:pPr marL="742950" lvl="1" indent="-285750" algn="l" rtl="0">
              <a:buClr>
                <a:srgbClr val="C00000"/>
              </a:buClr>
              <a:buFont typeface="Arial" panose="020B0604020202020204" pitchFamily="34" charset="0"/>
              <a:buChar char="•"/>
            </a:pPr>
            <a:r>
              <a:rPr lang="en-US" altLang="en-US" kern="1200" dirty="0" smtClean="0">
                <a:solidFill>
                  <a:schemeClr val="tx1"/>
                </a:solidFill>
              </a:rPr>
              <a:t>Set-up Sales Area</a:t>
            </a:r>
          </a:p>
          <a:p>
            <a:pPr marL="742950" lvl="1" indent="-285750" algn="l" rtl="0">
              <a:buClr>
                <a:srgbClr val="C00000"/>
              </a:buClr>
              <a:buFont typeface="Arial" panose="020B0604020202020204" pitchFamily="34" charset="0"/>
              <a:buChar char="•"/>
            </a:pPr>
            <a:r>
              <a:rPr lang="en-US" altLang="en-US" kern="1200" dirty="0" smtClean="0">
                <a:solidFill>
                  <a:schemeClr val="tx1"/>
                </a:solidFill>
              </a:rPr>
              <a:t>Sales Organization &amp; Master Data</a:t>
            </a:r>
          </a:p>
          <a:p>
            <a:pPr marL="742950" lvl="1" indent="-285750" algn="l" rtl="0">
              <a:buClr>
                <a:srgbClr val="C00000"/>
              </a:buClr>
              <a:buFont typeface="Arial" panose="020B0604020202020204" pitchFamily="34" charset="0"/>
              <a:buChar char="•"/>
            </a:pPr>
            <a:r>
              <a:rPr lang="en-US" altLang="en-US" kern="1200" dirty="0" smtClean="0">
                <a:solidFill>
                  <a:schemeClr val="tx1"/>
                </a:solidFill>
              </a:rPr>
              <a:t>Define Sales Office</a:t>
            </a:r>
          </a:p>
          <a:p>
            <a:pPr marL="742950" lvl="1" indent="-285750" algn="l" rtl="0">
              <a:buClr>
                <a:srgbClr val="C00000"/>
              </a:buClr>
              <a:buFont typeface="Arial" panose="020B0604020202020204" pitchFamily="34" charset="0"/>
              <a:buChar char="•"/>
            </a:pPr>
            <a:r>
              <a:rPr lang="en-US" altLang="en-US" kern="1200" dirty="0" smtClean="0">
                <a:solidFill>
                  <a:schemeClr val="tx1"/>
                </a:solidFill>
              </a:rPr>
              <a:t>Assign Sales Office to Sales Area</a:t>
            </a:r>
          </a:p>
          <a:p>
            <a:pPr marL="742950" lvl="1" indent="-285750" algn="l" rtl="0">
              <a:buClr>
                <a:srgbClr val="C00000"/>
              </a:buClr>
              <a:buFont typeface="Arial" panose="020B0604020202020204" pitchFamily="34" charset="0"/>
              <a:buChar char="•"/>
            </a:pPr>
            <a:r>
              <a:rPr lang="en-US" altLang="en-US" kern="1200" dirty="0" smtClean="0">
                <a:solidFill>
                  <a:schemeClr val="tx1"/>
                </a:solidFill>
              </a:rPr>
              <a:t>Sales Group</a:t>
            </a:r>
          </a:p>
          <a:p>
            <a:pPr marL="742950" lvl="1" indent="-285750" algn="l" rtl="0">
              <a:buClr>
                <a:srgbClr val="C00000"/>
              </a:buClr>
              <a:buFont typeface="Arial" panose="020B0604020202020204" pitchFamily="34" charset="0"/>
              <a:buChar char="•"/>
            </a:pPr>
            <a:r>
              <a:rPr lang="en-US" altLang="en-US" kern="1200" dirty="0" smtClean="0">
                <a:solidFill>
                  <a:schemeClr val="tx1"/>
                </a:solidFill>
              </a:rPr>
              <a:t>Assign Sales Group to Sales Office</a:t>
            </a:r>
          </a:p>
          <a:p>
            <a:pPr marL="742950" lvl="1" indent="-285750" algn="l" rtl="0">
              <a:buClr>
                <a:srgbClr val="C00000"/>
              </a:buClr>
              <a:buFont typeface="Arial" panose="020B0604020202020204" pitchFamily="34" charset="0"/>
              <a:buChar char="•"/>
            </a:pPr>
            <a:endParaRPr lang="en-US" altLang="en-US" kern="1200" dirty="0" smtClean="0">
              <a:solidFill>
                <a:schemeClr val="tx1"/>
              </a:solidFill>
            </a:endParaRPr>
          </a:p>
          <a:p>
            <a:pPr marL="0" indent="0">
              <a:buNone/>
            </a:pPr>
            <a:r>
              <a:rPr lang="en-US" altLang="en-US" dirty="0" smtClean="0"/>
              <a:t>	</a:t>
            </a:r>
          </a:p>
        </p:txBody>
      </p:sp>
      <p:sp>
        <p:nvSpPr>
          <p:cNvPr id="4" name="Title 1"/>
          <p:cNvSpPr txBox="1">
            <a:spLocks/>
          </p:cNvSpPr>
          <p:nvPr/>
        </p:nvSpPr>
        <p:spPr>
          <a:xfrm>
            <a:off x="152400" y="228600"/>
            <a:ext cx="9144000" cy="492443"/>
          </a:xfrm>
          <a:prstGeom prst="rect">
            <a:avLst/>
          </a:prstGeom>
        </p:spPr>
        <p:txBody>
          <a:bodyPr wrap="square" lIns="0" tIns="0" rIns="0" bIns="0">
            <a:spAutoFit/>
          </a:bodyPr>
          <a:lstStyle>
            <a:lvl1pPr algn="l">
              <a:defRPr sz="4400" b="1" i="0" baseline="0">
                <a:solidFill>
                  <a:schemeClr val="tx1"/>
                </a:solidFill>
                <a:latin typeface="Arial"/>
                <a:ea typeface="+mj-ea"/>
                <a:cs typeface="Arial"/>
              </a:defRPr>
            </a:lvl1pPr>
          </a:lstStyle>
          <a:p>
            <a:r>
              <a:rPr lang="en-US" altLang="en-US" sz="3200" kern="0" dirty="0" smtClean="0"/>
              <a:t>Lesson Objectives</a:t>
            </a:r>
          </a:p>
        </p:txBody>
      </p:sp>
    </p:spTree>
    <p:extLst>
      <p:ext uri="{BB962C8B-B14F-4D97-AF65-F5344CB8AC3E}">
        <p14:creationId xmlns:p14="http://schemas.microsoft.com/office/powerpoint/2010/main" xmlns="" val="385290444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4044696" y="260604"/>
            <a:ext cx="886968"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prstGeom prst="rect">
            <a:avLst/>
          </a:prstGeom>
        </p:spPr>
        <p:txBody>
          <a:bodyPr vert="horz" wrap="square" lIns="0" tIns="0" rIns="0" bIns="0" rtlCol="0">
            <a:spAutoFit/>
          </a:bodyPr>
          <a:lstStyle/>
          <a:p>
            <a:pPr>
              <a:lnSpc>
                <a:spcPct val="100000"/>
              </a:lnSpc>
            </a:pPr>
            <a:r>
              <a:rPr dirty="0"/>
              <a:t>Define Division</a:t>
            </a:r>
          </a:p>
        </p:txBody>
      </p:sp>
      <p:sp>
        <p:nvSpPr>
          <p:cNvPr id="5" name="object 5"/>
          <p:cNvSpPr txBox="1"/>
          <p:nvPr/>
        </p:nvSpPr>
        <p:spPr>
          <a:xfrm>
            <a:off x="989177" y="5311140"/>
            <a:ext cx="6941184" cy="286385"/>
          </a:xfrm>
          <a:prstGeom prst="rect">
            <a:avLst/>
          </a:prstGeom>
        </p:spPr>
        <p:txBody>
          <a:bodyPr vert="horz" wrap="square" lIns="0" tIns="0" rIns="0" bIns="0" rtlCol="0">
            <a:spAutoFit/>
          </a:bodyPr>
          <a:lstStyle/>
          <a:p>
            <a:pPr marL="12700">
              <a:lnSpc>
                <a:spcPct val="100000"/>
              </a:lnSpc>
            </a:pPr>
            <a:r>
              <a:rPr sz="1800" b="1" spc="-5" dirty="0">
                <a:latin typeface="Times New Roman"/>
                <a:cs typeface="Times New Roman"/>
              </a:rPr>
              <a:t>Display </a:t>
            </a:r>
            <a:r>
              <a:rPr sz="1800" b="1" dirty="0">
                <a:latin typeface="Times New Roman"/>
                <a:cs typeface="Times New Roman"/>
              </a:rPr>
              <a:t>IMG</a:t>
            </a:r>
            <a:r>
              <a:rPr sz="1800" b="1" dirty="0">
                <a:latin typeface="Wingdings"/>
                <a:cs typeface="Wingdings"/>
              </a:rPr>
              <a:t></a:t>
            </a:r>
            <a:r>
              <a:rPr sz="1800" b="1" dirty="0">
                <a:latin typeface="Times New Roman"/>
                <a:cs typeface="Times New Roman"/>
              </a:rPr>
              <a:t> </a:t>
            </a:r>
            <a:r>
              <a:rPr sz="1800" b="1" spc="-5" dirty="0">
                <a:latin typeface="Times New Roman"/>
                <a:cs typeface="Times New Roman"/>
              </a:rPr>
              <a:t>Enterprise Structure</a:t>
            </a:r>
            <a:r>
              <a:rPr sz="1800" b="1" spc="-5" dirty="0">
                <a:latin typeface="Wingdings"/>
                <a:cs typeface="Wingdings"/>
              </a:rPr>
              <a:t></a:t>
            </a:r>
            <a:r>
              <a:rPr sz="1800" b="1" spc="-5" dirty="0">
                <a:latin typeface="Times New Roman"/>
                <a:cs typeface="Times New Roman"/>
              </a:rPr>
              <a:t> Definition</a:t>
            </a:r>
            <a:r>
              <a:rPr sz="1800" b="1" spc="-5" dirty="0">
                <a:latin typeface="Wingdings"/>
                <a:cs typeface="Wingdings"/>
              </a:rPr>
              <a:t></a:t>
            </a:r>
            <a:r>
              <a:rPr sz="1800" b="1" spc="-5" dirty="0">
                <a:latin typeface="Times New Roman"/>
                <a:cs typeface="Times New Roman"/>
              </a:rPr>
              <a:t> </a:t>
            </a:r>
            <a:r>
              <a:rPr sz="1800" b="1" dirty="0">
                <a:latin typeface="Times New Roman"/>
                <a:cs typeface="Times New Roman"/>
              </a:rPr>
              <a:t>Logistics</a:t>
            </a:r>
            <a:r>
              <a:rPr sz="1800" b="1" spc="35" dirty="0">
                <a:latin typeface="Times New Roman"/>
                <a:cs typeface="Times New Roman"/>
              </a:rPr>
              <a:t> </a:t>
            </a:r>
            <a:r>
              <a:rPr sz="1800" b="1" dirty="0">
                <a:latin typeface="Times New Roman"/>
                <a:cs typeface="Times New Roman"/>
              </a:rPr>
              <a:t>-General</a:t>
            </a:r>
            <a:endParaRPr sz="1800">
              <a:latin typeface="Times New Roman"/>
              <a:cs typeface="Times New Roman"/>
            </a:endParaRPr>
          </a:p>
        </p:txBody>
      </p:sp>
      <p:sp>
        <p:nvSpPr>
          <p:cNvPr id="6" name="object 6"/>
          <p:cNvSpPr/>
          <p:nvPr/>
        </p:nvSpPr>
        <p:spPr>
          <a:xfrm>
            <a:off x="228600" y="5867400"/>
            <a:ext cx="8610600" cy="381000"/>
          </a:xfrm>
          <a:prstGeom prst="rect">
            <a:avLst/>
          </a:prstGeom>
          <a:blipFill>
            <a:blip r:embed="rId3" cstate="print"/>
            <a:stretch>
              <a:fillRect/>
            </a:stretch>
          </a:blipFill>
        </p:spPr>
        <p:txBody>
          <a:bodyPr wrap="square" lIns="0" tIns="0" rIns="0" bIns="0" rtlCol="0"/>
          <a:lstStyle/>
          <a:p>
            <a:endParaRPr/>
          </a:p>
        </p:txBody>
      </p:sp>
      <p:sp>
        <p:nvSpPr>
          <p:cNvPr id="7" name="object 7"/>
          <p:cNvSpPr txBox="1"/>
          <p:nvPr/>
        </p:nvSpPr>
        <p:spPr>
          <a:xfrm>
            <a:off x="228600" y="5867400"/>
            <a:ext cx="8610600" cy="381000"/>
          </a:xfrm>
          <a:prstGeom prst="rect">
            <a:avLst/>
          </a:prstGeom>
          <a:ln w="12700">
            <a:solidFill>
              <a:srgbClr val="000000"/>
            </a:solidFill>
          </a:ln>
        </p:spPr>
        <p:txBody>
          <a:bodyPr vert="horz" wrap="square" lIns="0" tIns="25400" rIns="0" bIns="0" rtlCol="0">
            <a:spAutoFit/>
          </a:bodyPr>
          <a:lstStyle/>
          <a:p>
            <a:pPr marL="862965">
              <a:lnSpc>
                <a:spcPct val="100000"/>
              </a:lnSpc>
              <a:spcBef>
                <a:spcPts val="200"/>
              </a:spcBef>
            </a:pPr>
            <a:r>
              <a:rPr sz="2000" b="1" dirty="0">
                <a:latin typeface="Arial"/>
                <a:cs typeface="Arial"/>
              </a:rPr>
              <a:t>A </a:t>
            </a:r>
            <a:r>
              <a:rPr sz="2000" b="1" spc="-5" dirty="0">
                <a:latin typeface="Arial"/>
                <a:cs typeface="Arial"/>
              </a:rPr>
              <a:t>Division </a:t>
            </a:r>
            <a:r>
              <a:rPr sz="2000" b="1" dirty="0">
                <a:latin typeface="Arial"/>
                <a:cs typeface="Arial"/>
              </a:rPr>
              <a:t>is </a:t>
            </a:r>
            <a:r>
              <a:rPr sz="2000" b="1" spc="-5" dirty="0">
                <a:latin typeface="Arial"/>
                <a:cs typeface="Arial"/>
              </a:rPr>
              <a:t>just </a:t>
            </a:r>
            <a:r>
              <a:rPr sz="2000" b="1" dirty="0">
                <a:latin typeface="Arial"/>
                <a:cs typeface="Arial"/>
              </a:rPr>
              <a:t>a text </a:t>
            </a:r>
            <a:r>
              <a:rPr sz="2000" b="1" spc="-5" dirty="0">
                <a:latin typeface="Arial"/>
                <a:cs typeface="Arial"/>
              </a:rPr>
              <a:t>value </a:t>
            </a:r>
            <a:r>
              <a:rPr sz="2000" b="1" dirty="0">
                <a:latin typeface="Arial"/>
                <a:cs typeface="Arial"/>
              </a:rPr>
              <a:t>and has no controls</a:t>
            </a:r>
            <a:r>
              <a:rPr sz="2000" b="1" spc="-175" dirty="0">
                <a:latin typeface="Arial"/>
                <a:cs typeface="Arial"/>
              </a:rPr>
              <a:t> </a:t>
            </a:r>
            <a:r>
              <a:rPr sz="2000" b="1" dirty="0">
                <a:latin typeface="Arial"/>
                <a:cs typeface="Arial"/>
              </a:rPr>
              <a:t>behind</a:t>
            </a:r>
            <a:endParaRPr sz="2000">
              <a:latin typeface="Arial"/>
              <a:cs typeface="Arial"/>
            </a:endParaRPr>
          </a:p>
        </p:txBody>
      </p:sp>
      <p:sp>
        <p:nvSpPr>
          <p:cNvPr id="8" name="object 8"/>
          <p:cNvSpPr/>
          <p:nvPr/>
        </p:nvSpPr>
        <p:spPr>
          <a:xfrm>
            <a:off x="1981200" y="1143000"/>
            <a:ext cx="5105400" cy="4038600"/>
          </a:xfrm>
          <a:prstGeom prst="rect">
            <a:avLst/>
          </a:prstGeom>
          <a:blipFill>
            <a:blip r:embed="rId4" cstate="print"/>
            <a:stretch>
              <a:fillRect/>
            </a:stretch>
          </a:blipFill>
        </p:spPr>
        <p:txBody>
          <a:bodyPr wrap="square" lIns="0" tIns="0" rIns="0" bIns="0" rtlCol="0"/>
          <a:lstStyle/>
          <a:p>
            <a:endParaRPr/>
          </a:p>
        </p:txBody>
      </p:sp>
      <p:sp>
        <p:nvSpPr>
          <p:cNvPr id="9" name="object 9"/>
          <p:cNvSpPr/>
          <p:nvPr/>
        </p:nvSpPr>
        <p:spPr>
          <a:xfrm>
            <a:off x="1966848" y="1128649"/>
            <a:ext cx="5133975" cy="4067175"/>
          </a:xfrm>
          <a:custGeom>
            <a:avLst/>
            <a:gdLst/>
            <a:ahLst/>
            <a:cxnLst/>
            <a:rect l="l" t="t" r="r" b="b"/>
            <a:pathLst>
              <a:path w="5133975" h="4067175">
                <a:moveTo>
                  <a:pt x="0" y="4067175"/>
                </a:moveTo>
                <a:lnTo>
                  <a:pt x="5133975" y="4067175"/>
                </a:lnTo>
                <a:lnTo>
                  <a:pt x="5133975" y="0"/>
                </a:lnTo>
                <a:lnTo>
                  <a:pt x="0" y="0"/>
                </a:lnTo>
                <a:lnTo>
                  <a:pt x="0" y="4067175"/>
                </a:lnTo>
                <a:close/>
              </a:path>
            </a:pathLst>
          </a:custGeom>
          <a:ln w="28575">
            <a:solidFill>
              <a:srgbClr val="000000"/>
            </a:solidFill>
          </a:ln>
        </p:spPr>
        <p:txBody>
          <a:bodyPr wrap="square" lIns="0" tIns="0" rIns="0" bIns="0" rtlCol="0"/>
          <a:lstStyle/>
          <a:p>
            <a:endParaRPr/>
          </a:p>
        </p:txBody>
      </p:sp>
      <p:sp>
        <p:nvSpPr>
          <p:cNvPr id="10" name="object 10"/>
          <p:cNvSpPr/>
          <p:nvPr/>
        </p:nvSpPr>
        <p:spPr>
          <a:xfrm>
            <a:off x="381000" y="1524000"/>
            <a:ext cx="2251075" cy="852805"/>
          </a:xfrm>
          <a:custGeom>
            <a:avLst/>
            <a:gdLst/>
            <a:ahLst/>
            <a:cxnLst/>
            <a:rect l="l" t="t" r="r" b="b"/>
            <a:pathLst>
              <a:path w="2251075" h="852805">
                <a:moveTo>
                  <a:pt x="1704827" y="571500"/>
                </a:moveTo>
                <a:lnTo>
                  <a:pt x="1371600" y="571500"/>
                </a:lnTo>
                <a:lnTo>
                  <a:pt x="2251075" y="852551"/>
                </a:lnTo>
                <a:lnTo>
                  <a:pt x="1704827" y="571500"/>
                </a:lnTo>
                <a:close/>
              </a:path>
              <a:path w="2251075" h="852805">
                <a:moveTo>
                  <a:pt x="1257300" y="0"/>
                </a:moveTo>
                <a:lnTo>
                  <a:pt x="114300" y="0"/>
                </a:lnTo>
                <a:lnTo>
                  <a:pt x="69812" y="8983"/>
                </a:lnTo>
                <a:lnTo>
                  <a:pt x="33480" y="33480"/>
                </a:lnTo>
                <a:lnTo>
                  <a:pt x="8983" y="69812"/>
                </a:lnTo>
                <a:lnTo>
                  <a:pt x="0" y="114300"/>
                </a:lnTo>
                <a:lnTo>
                  <a:pt x="0" y="571500"/>
                </a:lnTo>
                <a:lnTo>
                  <a:pt x="8983" y="615987"/>
                </a:lnTo>
                <a:lnTo>
                  <a:pt x="33480" y="652319"/>
                </a:lnTo>
                <a:lnTo>
                  <a:pt x="69812" y="676816"/>
                </a:lnTo>
                <a:lnTo>
                  <a:pt x="114300" y="685800"/>
                </a:lnTo>
                <a:lnTo>
                  <a:pt x="1257300" y="685800"/>
                </a:lnTo>
                <a:lnTo>
                  <a:pt x="1301787" y="676816"/>
                </a:lnTo>
                <a:lnTo>
                  <a:pt x="1338119" y="652319"/>
                </a:lnTo>
                <a:lnTo>
                  <a:pt x="1362616" y="615987"/>
                </a:lnTo>
                <a:lnTo>
                  <a:pt x="1371600" y="571500"/>
                </a:lnTo>
                <a:lnTo>
                  <a:pt x="1704827" y="571500"/>
                </a:lnTo>
                <a:lnTo>
                  <a:pt x="1371600" y="400050"/>
                </a:lnTo>
                <a:lnTo>
                  <a:pt x="1371600" y="114300"/>
                </a:lnTo>
                <a:lnTo>
                  <a:pt x="1362616" y="69812"/>
                </a:lnTo>
                <a:lnTo>
                  <a:pt x="1338119" y="33480"/>
                </a:lnTo>
                <a:lnTo>
                  <a:pt x="1301787" y="8983"/>
                </a:lnTo>
                <a:lnTo>
                  <a:pt x="1257300" y="0"/>
                </a:lnTo>
                <a:close/>
              </a:path>
            </a:pathLst>
          </a:custGeom>
          <a:solidFill>
            <a:srgbClr val="FFFF99"/>
          </a:solidFill>
        </p:spPr>
        <p:txBody>
          <a:bodyPr wrap="square" lIns="0" tIns="0" rIns="0" bIns="0" rtlCol="0"/>
          <a:lstStyle/>
          <a:p>
            <a:endParaRPr/>
          </a:p>
        </p:txBody>
      </p:sp>
      <p:sp>
        <p:nvSpPr>
          <p:cNvPr id="11" name="object 11"/>
          <p:cNvSpPr/>
          <p:nvPr/>
        </p:nvSpPr>
        <p:spPr>
          <a:xfrm>
            <a:off x="381000" y="1524000"/>
            <a:ext cx="2251075" cy="852805"/>
          </a:xfrm>
          <a:custGeom>
            <a:avLst/>
            <a:gdLst/>
            <a:ahLst/>
            <a:cxnLst/>
            <a:rect l="l" t="t" r="r" b="b"/>
            <a:pathLst>
              <a:path w="2251075" h="852805">
                <a:moveTo>
                  <a:pt x="0" y="114300"/>
                </a:moveTo>
                <a:lnTo>
                  <a:pt x="8983" y="69812"/>
                </a:lnTo>
                <a:lnTo>
                  <a:pt x="33480" y="33480"/>
                </a:lnTo>
                <a:lnTo>
                  <a:pt x="69812" y="8983"/>
                </a:lnTo>
                <a:lnTo>
                  <a:pt x="114300" y="0"/>
                </a:lnTo>
                <a:lnTo>
                  <a:pt x="800100" y="0"/>
                </a:lnTo>
                <a:lnTo>
                  <a:pt x="1143000" y="0"/>
                </a:lnTo>
                <a:lnTo>
                  <a:pt x="1257300" y="0"/>
                </a:lnTo>
                <a:lnTo>
                  <a:pt x="1301787" y="8983"/>
                </a:lnTo>
                <a:lnTo>
                  <a:pt x="1338119" y="33480"/>
                </a:lnTo>
                <a:lnTo>
                  <a:pt x="1362616" y="69812"/>
                </a:lnTo>
                <a:lnTo>
                  <a:pt x="1371600" y="114300"/>
                </a:lnTo>
                <a:lnTo>
                  <a:pt x="1371600" y="400050"/>
                </a:lnTo>
                <a:lnTo>
                  <a:pt x="2251075" y="852551"/>
                </a:lnTo>
                <a:lnTo>
                  <a:pt x="1371600" y="571500"/>
                </a:lnTo>
                <a:lnTo>
                  <a:pt x="1362616" y="615987"/>
                </a:lnTo>
                <a:lnTo>
                  <a:pt x="1338119" y="652319"/>
                </a:lnTo>
                <a:lnTo>
                  <a:pt x="1301787" y="676816"/>
                </a:lnTo>
                <a:lnTo>
                  <a:pt x="1257300" y="685800"/>
                </a:lnTo>
                <a:lnTo>
                  <a:pt x="1143000" y="685800"/>
                </a:lnTo>
                <a:lnTo>
                  <a:pt x="800100" y="685800"/>
                </a:lnTo>
                <a:lnTo>
                  <a:pt x="114300" y="685800"/>
                </a:lnTo>
                <a:lnTo>
                  <a:pt x="69812" y="676816"/>
                </a:lnTo>
                <a:lnTo>
                  <a:pt x="33480" y="652319"/>
                </a:lnTo>
                <a:lnTo>
                  <a:pt x="8983" y="615987"/>
                </a:lnTo>
                <a:lnTo>
                  <a:pt x="0" y="571500"/>
                </a:lnTo>
                <a:lnTo>
                  <a:pt x="0" y="400050"/>
                </a:lnTo>
                <a:lnTo>
                  <a:pt x="0" y="114300"/>
                </a:lnTo>
                <a:close/>
              </a:path>
            </a:pathLst>
          </a:custGeom>
          <a:ln w="12700">
            <a:solidFill>
              <a:srgbClr val="FFFFFF"/>
            </a:solidFill>
          </a:ln>
        </p:spPr>
        <p:txBody>
          <a:bodyPr wrap="square" lIns="0" tIns="0" rIns="0" bIns="0" rtlCol="0"/>
          <a:lstStyle/>
          <a:p>
            <a:endParaRPr/>
          </a:p>
        </p:txBody>
      </p:sp>
      <p:sp>
        <p:nvSpPr>
          <p:cNvPr id="12" name="object 12"/>
          <p:cNvSpPr txBox="1"/>
          <p:nvPr/>
        </p:nvSpPr>
        <p:spPr>
          <a:xfrm>
            <a:off x="507593" y="1597914"/>
            <a:ext cx="1117600" cy="438784"/>
          </a:xfrm>
          <a:prstGeom prst="rect">
            <a:avLst/>
          </a:prstGeom>
        </p:spPr>
        <p:txBody>
          <a:bodyPr vert="horz" wrap="square" lIns="0" tIns="0" rIns="0" bIns="0" rtlCol="0">
            <a:spAutoFit/>
          </a:bodyPr>
          <a:lstStyle/>
          <a:p>
            <a:pPr marL="12700" marR="5080" indent="312420">
              <a:lnSpc>
                <a:spcPct val="100000"/>
              </a:lnSpc>
            </a:pPr>
            <a:r>
              <a:rPr sz="1400" b="1" dirty="0">
                <a:latin typeface="Times New Roman"/>
                <a:cs typeface="Times New Roman"/>
              </a:rPr>
              <a:t>Alpha  </a:t>
            </a:r>
            <a:r>
              <a:rPr sz="1400" b="1" spc="-5" dirty="0">
                <a:latin typeface="Times New Roman"/>
                <a:cs typeface="Times New Roman"/>
              </a:rPr>
              <a:t>numeric</a:t>
            </a:r>
            <a:r>
              <a:rPr sz="1400" b="1" spc="-70" dirty="0">
                <a:latin typeface="Times New Roman"/>
                <a:cs typeface="Times New Roman"/>
              </a:rPr>
              <a:t> </a:t>
            </a:r>
            <a:r>
              <a:rPr sz="1400" b="1" dirty="0">
                <a:latin typeface="Times New Roman"/>
                <a:cs typeface="Times New Roman"/>
              </a:rPr>
              <a:t>codes</a:t>
            </a:r>
            <a:endParaRPr sz="1400">
              <a:latin typeface="Times New Roman"/>
              <a:cs typeface="Times New Roman"/>
            </a:endParaRPr>
          </a:p>
        </p:txBody>
      </p:sp>
      <p:sp>
        <p:nvSpPr>
          <p:cNvPr id="14" name="object 14"/>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30</a:t>
            </a:fld>
            <a:endParaRPr sz="1200">
              <a:latin typeface="Symbol"/>
              <a:cs typeface="Symbol"/>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8295131" y="291084"/>
            <a:ext cx="729996" cy="739140"/>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152400" y="152400"/>
            <a:ext cx="9144000" cy="492443"/>
          </a:xfrm>
          <a:prstGeom prst="rect">
            <a:avLst/>
          </a:prstGeom>
        </p:spPr>
        <p:txBody>
          <a:bodyPr vert="horz" wrap="square" lIns="0" tIns="0" rIns="0" bIns="0" rtlCol="0">
            <a:spAutoFit/>
          </a:bodyPr>
          <a:lstStyle/>
          <a:p>
            <a:r>
              <a:rPr dirty="0"/>
              <a:t>Assign Division to Sales Organization</a:t>
            </a:r>
          </a:p>
        </p:txBody>
      </p:sp>
      <p:sp>
        <p:nvSpPr>
          <p:cNvPr id="5" name="object 5"/>
          <p:cNvSpPr/>
          <p:nvPr/>
        </p:nvSpPr>
        <p:spPr>
          <a:xfrm>
            <a:off x="2743200" y="1371600"/>
            <a:ext cx="2209800" cy="2209800"/>
          </a:xfrm>
          <a:custGeom>
            <a:avLst/>
            <a:gdLst/>
            <a:ahLst/>
            <a:cxnLst/>
            <a:rect l="l" t="t" r="r" b="b"/>
            <a:pathLst>
              <a:path w="2209800" h="2209800">
                <a:moveTo>
                  <a:pt x="1104900" y="0"/>
                </a:moveTo>
                <a:lnTo>
                  <a:pt x="1056970" y="1020"/>
                </a:lnTo>
                <a:lnTo>
                  <a:pt x="1009562" y="4055"/>
                </a:lnTo>
                <a:lnTo>
                  <a:pt x="962718" y="9062"/>
                </a:lnTo>
                <a:lnTo>
                  <a:pt x="916478" y="16001"/>
                </a:lnTo>
                <a:lnTo>
                  <a:pt x="870883" y="24828"/>
                </a:lnTo>
                <a:lnTo>
                  <a:pt x="825977" y="35504"/>
                </a:lnTo>
                <a:lnTo>
                  <a:pt x="781799" y="47987"/>
                </a:lnTo>
                <a:lnTo>
                  <a:pt x="738392" y="62235"/>
                </a:lnTo>
                <a:lnTo>
                  <a:pt x="695796" y="78207"/>
                </a:lnTo>
                <a:lnTo>
                  <a:pt x="654054" y="95861"/>
                </a:lnTo>
                <a:lnTo>
                  <a:pt x="613207" y="115155"/>
                </a:lnTo>
                <a:lnTo>
                  <a:pt x="573295" y="136050"/>
                </a:lnTo>
                <a:lnTo>
                  <a:pt x="534362" y="158502"/>
                </a:lnTo>
                <a:lnTo>
                  <a:pt x="496447" y="182471"/>
                </a:lnTo>
                <a:lnTo>
                  <a:pt x="459593" y="207914"/>
                </a:lnTo>
                <a:lnTo>
                  <a:pt x="423841" y="234792"/>
                </a:lnTo>
                <a:lnTo>
                  <a:pt x="389232" y="263062"/>
                </a:lnTo>
                <a:lnTo>
                  <a:pt x="355809" y="292682"/>
                </a:lnTo>
                <a:lnTo>
                  <a:pt x="323611" y="323611"/>
                </a:lnTo>
                <a:lnTo>
                  <a:pt x="292682" y="355809"/>
                </a:lnTo>
                <a:lnTo>
                  <a:pt x="263062" y="389232"/>
                </a:lnTo>
                <a:lnTo>
                  <a:pt x="234792" y="423841"/>
                </a:lnTo>
                <a:lnTo>
                  <a:pt x="207914" y="459593"/>
                </a:lnTo>
                <a:lnTo>
                  <a:pt x="182471" y="496447"/>
                </a:lnTo>
                <a:lnTo>
                  <a:pt x="158502" y="534362"/>
                </a:lnTo>
                <a:lnTo>
                  <a:pt x="136050" y="573295"/>
                </a:lnTo>
                <a:lnTo>
                  <a:pt x="115155" y="613207"/>
                </a:lnTo>
                <a:lnTo>
                  <a:pt x="95861" y="654054"/>
                </a:lnTo>
                <a:lnTo>
                  <a:pt x="78207" y="695796"/>
                </a:lnTo>
                <a:lnTo>
                  <a:pt x="62235" y="738392"/>
                </a:lnTo>
                <a:lnTo>
                  <a:pt x="47987" y="781799"/>
                </a:lnTo>
                <a:lnTo>
                  <a:pt x="35504" y="825977"/>
                </a:lnTo>
                <a:lnTo>
                  <a:pt x="24828" y="870883"/>
                </a:lnTo>
                <a:lnTo>
                  <a:pt x="16001" y="916478"/>
                </a:lnTo>
                <a:lnTo>
                  <a:pt x="9062" y="962718"/>
                </a:lnTo>
                <a:lnTo>
                  <a:pt x="4055" y="1009562"/>
                </a:lnTo>
                <a:lnTo>
                  <a:pt x="1020" y="1056970"/>
                </a:lnTo>
                <a:lnTo>
                  <a:pt x="0" y="1104900"/>
                </a:lnTo>
                <a:lnTo>
                  <a:pt x="1020" y="1152829"/>
                </a:lnTo>
                <a:lnTo>
                  <a:pt x="4055" y="1200237"/>
                </a:lnTo>
                <a:lnTo>
                  <a:pt x="9062" y="1247081"/>
                </a:lnTo>
                <a:lnTo>
                  <a:pt x="16001" y="1293321"/>
                </a:lnTo>
                <a:lnTo>
                  <a:pt x="24828" y="1338916"/>
                </a:lnTo>
                <a:lnTo>
                  <a:pt x="35504" y="1383822"/>
                </a:lnTo>
                <a:lnTo>
                  <a:pt x="47987" y="1428000"/>
                </a:lnTo>
                <a:lnTo>
                  <a:pt x="62235" y="1471407"/>
                </a:lnTo>
                <a:lnTo>
                  <a:pt x="78207" y="1514003"/>
                </a:lnTo>
                <a:lnTo>
                  <a:pt x="95861" y="1555745"/>
                </a:lnTo>
                <a:lnTo>
                  <a:pt x="115155" y="1596592"/>
                </a:lnTo>
                <a:lnTo>
                  <a:pt x="136050" y="1636504"/>
                </a:lnTo>
                <a:lnTo>
                  <a:pt x="158502" y="1675437"/>
                </a:lnTo>
                <a:lnTo>
                  <a:pt x="182471" y="1713352"/>
                </a:lnTo>
                <a:lnTo>
                  <a:pt x="207914" y="1750206"/>
                </a:lnTo>
                <a:lnTo>
                  <a:pt x="234792" y="1785958"/>
                </a:lnTo>
                <a:lnTo>
                  <a:pt x="263062" y="1820567"/>
                </a:lnTo>
                <a:lnTo>
                  <a:pt x="292682" y="1853990"/>
                </a:lnTo>
                <a:lnTo>
                  <a:pt x="323611" y="1886188"/>
                </a:lnTo>
                <a:lnTo>
                  <a:pt x="355809" y="1917117"/>
                </a:lnTo>
                <a:lnTo>
                  <a:pt x="389232" y="1946737"/>
                </a:lnTo>
                <a:lnTo>
                  <a:pt x="423841" y="1975007"/>
                </a:lnTo>
                <a:lnTo>
                  <a:pt x="459593" y="2001885"/>
                </a:lnTo>
                <a:lnTo>
                  <a:pt x="496447" y="2027328"/>
                </a:lnTo>
                <a:lnTo>
                  <a:pt x="534362" y="2051297"/>
                </a:lnTo>
                <a:lnTo>
                  <a:pt x="573295" y="2073749"/>
                </a:lnTo>
                <a:lnTo>
                  <a:pt x="613207" y="2094644"/>
                </a:lnTo>
                <a:lnTo>
                  <a:pt x="654054" y="2113938"/>
                </a:lnTo>
                <a:lnTo>
                  <a:pt x="695796" y="2131592"/>
                </a:lnTo>
                <a:lnTo>
                  <a:pt x="738392" y="2147564"/>
                </a:lnTo>
                <a:lnTo>
                  <a:pt x="781799" y="2161812"/>
                </a:lnTo>
                <a:lnTo>
                  <a:pt x="825977" y="2174295"/>
                </a:lnTo>
                <a:lnTo>
                  <a:pt x="870883" y="2184971"/>
                </a:lnTo>
                <a:lnTo>
                  <a:pt x="916478" y="2193798"/>
                </a:lnTo>
                <a:lnTo>
                  <a:pt x="962718" y="2200737"/>
                </a:lnTo>
                <a:lnTo>
                  <a:pt x="1009562" y="2205744"/>
                </a:lnTo>
                <a:lnTo>
                  <a:pt x="1056970" y="2208779"/>
                </a:lnTo>
                <a:lnTo>
                  <a:pt x="1104900" y="2209800"/>
                </a:lnTo>
                <a:lnTo>
                  <a:pt x="1152829" y="2208779"/>
                </a:lnTo>
                <a:lnTo>
                  <a:pt x="1200237" y="2205744"/>
                </a:lnTo>
                <a:lnTo>
                  <a:pt x="1247081" y="2200737"/>
                </a:lnTo>
                <a:lnTo>
                  <a:pt x="1293321" y="2193798"/>
                </a:lnTo>
                <a:lnTo>
                  <a:pt x="1338916" y="2184971"/>
                </a:lnTo>
                <a:lnTo>
                  <a:pt x="1383822" y="2174295"/>
                </a:lnTo>
                <a:lnTo>
                  <a:pt x="1428000" y="2161812"/>
                </a:lnTo>
                <a:lnTo>
                  <a:pt x="1471407" y="2147564"/>
                </a:lnTo>
                <a:lnTo>
                  <a:pt x="1514003" y="2131592"/>
                </a:lnTo>
                <a:lnTo>
                  <a:pt x="1555745" y="2113938"/>
                </a:lnTo>
                <a:lnTo>
                  <a:pt x="1596592" y="2094644"/>
                </a:lnTo>
                <a:lnTo>
                  <a:pt x="1636504" y="2073749"/>
                </a:lnTo>
                <a:lnTo>
                  <a:pt x="1675437" y="2051297"/>
                </a:lnTo>
                <a:lnTo>
                  <a:pt x="1713352" y="2027328"/>
                </a:lnTo>
                <a:lnTo>
                  <a:pt x="1750206" y="2001885"/>
                </a:lnTo>
                <a:lnTo>
                  <a:pt x="1785958" y="1975007"/>
                </a:lnTo>
                <a:lnTo>
                  <a:pt x="1820567" y="1946737"/>
                </a:lnTo>
                <a:lnTo>
                  <a:pt x="1853990" y="1917117"/>
                </a:lnTo>
                <a:lnTo>
                  <a:pt x="1886188" y="1886188"/>
                </a:lnTo>
                <a:lnTo>
                  <a:pt x="1917117" y="1853990"/>
                </a:lnTo>
                <a:lnTo>
                  <a:pt x="1946737" y="1820567"/>
                </a:lnTo>
                <a:lnTo>
                  <a:pt x="1975007" y="1785958"/>
                </a:lnTo>
                <a:lnTo>
                  <a:pt x="2001885" y="1750206"/>
                </a:lnTo>
                <a:lnTo>
                  <a:pt x="2027328" y="1713352"/>
                </a:lnTo>
                <a:lnTo>
                  <a:pt x="2051297" y="1675437"/>
                </a:lnTo>
                <a:lnTo>
                  <a:pt x="2073749" y="1636504"/>
                </a:lnTo>
                <a:lnTo>
                  <a:pt x="2094644" y="1596592"/>
                </a:lnTo>
                <a:lnTo>
                  <a:pt x="2113938" y="1555745"/>
                </a:lnTo>
                <a:lnTo>
                  <a:pt x="2131592" y="1514003"/>
                </a:lnTo>
                <a:lnTo>
                  <a:pt x="2147564" y="1471407"/>
                </a:lnTo>
                <a:lnTo>
                  <a:pt x="2161812" y="1428000"/>
                </a:lnTo>
                <a:lnTo>
                  <a:pt x="2174295" y="1383822"/>
                </a:lnTo>
                <a:lnTo>
                  <a:pt x="2184971" y="1338916"/>
                </a:lnTo>
                <a:lnTo>
                  <a:pt x="2193798" y="1293321"/>
                </a:lnTo>
                <a:lnTo>
                  <a:pt x="2200737" y="1247081"/>
                </a:lnTo>
                <a:lnTo>
                  <a:pt x="2205744" y="1200237"/>
                </a:lnTo>
                <a:lnTo>
                  <a:pt x="2208779" y="1152829"/>
                </a:lnTo>
                <a:lnTo>
                  <a:pt x="2209800" y="1104900"/>
                </a:lnTo>
                <a:lnTo>
                  <a:pt x="2208779" y="1056970"/>
                </a:lnTo>
                <a:lnTo>
                  <a:pt x="2205744" y="1009562"/>
                </a:lnTo>
                <a:lnTo>
                  <a:pt x="2200737" y="962718"/>
                </a:lnTo>
                <a:lnTo>
                  <a:pt x="2193798" y="916478"/>
                </a:lnTo>
                <a:lnTo>
                  <a:pt x="2184971" y="870883"/>
                </a:lnTo>
                <a:lnTo>
                  <a:pt x="2174295" y="825977"/>
                </a:lnTo>
                <a:lnTo>
                  <a:pt x="2161812" y="781799"/>
                </a:lnTo>
                <a:lnTo>
                  <a:pt x="2147564" y="738392"/>
                </a:lnTo>
                <a:lnTo>
                  <a:pt x="2131592" y="695796"/>
                </a:lnTo>
                <a:lnTo>
                  <a:pt x="2113938" y="654054"/>
                </a:lnTo>
                <a:lnTo>
                  <a:pt x="2094644" y="613207"/>
                </a:lnTo>
                <a:lnTo>
                  <a:pt x="2073749" y="573295"/>
                </a:lnTo>
                <a:lnTo>
                  <a:pt x="2051297" y="534362"/>
                </a:lnTo>
                <a:lnTo>
                  <a:pt x="2027328" y="496447"/>
                </a:lnTo>
                <a:lnTo>
                  <a:pt x="2001885" y="459593"/>
                </a:lnTo>
                <a:lnTo>
                  <a:pt x="1975007" y="423841"/>
                </a:lnTo>
                <a:lnTo>
                  <a:pt x="1946737" y="389232"/>
                </a:lnTo>
                <a:lnTo>
                  <a:pt x="1917117" y="355809"/>
                </a:lnTo>
                <a:lnTo>
                  <a:pt x="1886188" y="323611"/>
                </a:lnTo>
                <a:lnTo>
                  <a:pt x="1853990" y="292682"/>
                </a:lnTo>
                <a:lnTo>
                  <a:pt x="1820567" y="263062"/>
                </a:lnTo>
                <a:lnTo>
                  <a:pt x="1785958" y="234792"/>
                </a:lnTo>
                <a:lnTo>
                  <a:pt x="1750206" y="207914"/>
                </a:lnTo>
                <a:lnTo>
                  <a:pt x="1713352" y="182471"/>
                </a:lnTo>
                <a:lnTo>
                  <a:pt x="1675437" y="158502"/>
                </a:lnTo>
                <a:lnTo>
                  <a:pt x="1636504" y="136050"/>
                </a:lnTo>
                <a:lnTo>
                  <a:pt x="1596592" y="115155"/>
                </a:lnTo>
                <a:lnTo>
                  <a:pt x="1555745" y="95861"/>
                </a:lnTo>
                <a:lnTo>
                  <a:pt x="1514003" y="78207"/>
                </a:lnTo>
                <a:lnTo>
                  <a:pt x="1471407" y="62235"/>
                </a:lnTo>
                <a:lnTo>
                  <a:pt x="1428000" y="47987"/>
                </a:lnTo>
                <a:lnTo>
                  <a:pt x="1383822" y="35504"/>
                </a:lnTo>
                <a:lnTo>
                  <a:pt x="1338916" y="24828"/>
                </a:lnTo>
                <a:lnTo>
                  <a:pt x="1293321" y="16001"/>
                </a:lnTo>
                <a:lnTo>
                  <a:pt x="1247081" y="9062"/>
                </a:lnTo>
                <a:lnTo>
                  <a:pt x="1200237" y="4055"/>
                </a:lnTo>
                <a:lnTo>
                  <a:pt x="1152829" y="1020"/>
                </a:lnTo>
                <a:lnTo>
                  <a:pt x="1104900" y="0"/>
                </a:lnTo>
                <a:close/>
              </a:path>
            </a:pathLst>
          </a:custGeom>
          <a:solidFill>
            <a:srgbClr val="AED6FF"/>
          </a:solidFill>
        </p:spPr>
        <p:txBody>
          <a:bodyPr wrap="square" lIns="0" tIns="0" rIns="0" bIns="0" rtlCol="0"/>
          <a:lstStyle/>
          <a:p>
            <a:endParaRPr/>
          </a:p>
        </p:txBody>
      </p:sp>
      <p:sp>
        <p:nvSpPr>
          <p:cNvPr id="6" name="object 6"/>
          <p:cNvSpPr/>
          <p:nvPr/>
        </p:nvSpPr>
        <p:spPr>
          <a:xfrm>
            <a:off x="2743200" y="1371600"/>
            <a:ext cx="2209800" cy="2209800"/>
          </a:xfrm>
          <a:custGeom>
            <a:avLst/>
            <a:gdLst/>
            <a:ahLst/>
            <a:cxnLst/>
            <a:rect l="l" t="t" r="r" b="b"/>
            <a:pathLst>
              <a:path w="2209800" h="2209800">
                <a:moveTo>
                  <a:pt x="0" y="1104900"/>
                </a:moveTo>
                <a:lnTo>
                  <a:pt x="1020" y="1056970"/>
                </a:lnTo>
                <a:lnTo>
                  <a:pt x="4055" y="1009562"/>
                </a:lnTo>
                <a:lnTo>
                  <a:pt x="9062" y="962718"/>
                </a:lnTo>
                <a:lnTo>
                  <a:pt x="16001" y="916478"/>
                </a:lnTo>
                <a:lnTo>
                  <a:pt x="24828" y="870883"/>
                </a:lnTo>
                <a:lnTo>
                  <a:pt x="35504" y="825977"/>
                </a:lnTo>
                <a:lnTo>
                  <a:pt x="47987" y="781799"/>
                </a:lnTo>
                <a:lnTo>
                  <a:pt x="62235" y="738392"/>
                </a:lnTo>
                <a:lnTo>
                  <a:pt x="78207" y="695796"/>
                </a:lnTo>
                <a:lnTo>
                  <a:pt x="95861" y="654054"/>
                </a:lnTo>
                <a:lnTo>
                  <a:pt x="115155" y="613207"/>
                </a:lnTo>
                <a:lnTo>
                  <a:pt x="136050" y="573295"/>
                </a:lnTo>
                <a:lnTo>
                  <a:pt x="158502" y="534362"/>
                </a:lnTo>
                <a:lnTo>
                  <a:pt x="182471" y="496447"/>
                </a:lnTo>
                <a:lnTo>
                  <a:pt x="207914" y="459593"/>
                </a:lnTo>
                <a:lnTo>
                  <a:pt x="234792" y="423841"/>
                </a:lnTo>
                <a:lnTo>
                  <a:pt x="263062" y="389232"/>
                </a:lnTo>
                <a:lnTo>
                  <a:pt x="292682" y="355809"/>
                </a:lnTo>
                <a:lnTo>
                  <a:pt x="323611" y="323611"/>
                </a:lnTo>
                <a:lnTo>
                  <a:pt x="355809" y="292682"/>
                </a:lnTo>
                <a:lnTo>
                  <a:pt x="389232" y="263062"/>
                </a:lnTo>
                <a:lnTo>
                  <a:pt x="423841" y="234792"/>
                </a:lnTo>
                <a:lnTo>
                  <a:pt x="459593" y="207914"/>
                </a:lnTo>
                <a:lnTo>
                  <a:pt x="496447" y="182471"/>
                </a:lnTo>
                <a:lnTo>
                  <a:pt x="534362" y="158502"/>
                </a:lnTo>
                <a:lnTo>
                  <a:pt x="573295" y="136050"/>
                </a:lnTo>
                <a:lnTo>
                  <a:pt x="613207" y="115155"/>
                </a:lnTo>
                <a:lnTo>
                  <a:pt x="654054" y="95861"/>
                </a:lnTo>
                <a:lnTo>
                  <a:pt x="695796" y="78207"/>
                </a:lnTo>
                <a:lnTo>
                  <a:pt x="738392" y="62235"/>
                </a:lnTo>
                <a:lnTo>
                  <a:pt x="781799" y="47987"/>
                </a:lnTo>
                <a:lnTo>
                  <a:pt x="825977" y="35504"/>
                </a:lnTo>
                <a:lnTo>
                  <a:pt x="870883" y="24828"/>
                </a:lnTo>
                <a:lnTo>
                  <a:pt x="916478" y="16001"/>
                </a:lnTo>
                <a:lnTo>
                  <a:pt x="962718" y="9062"/>
                </a:lnTo>
                <a:lnTo>
                  <a:pt x="1009562" y="4055"/>
                </a:lnTo>
                <a:lnTo>
                  <a:pt x="1056970" y="1020"/>
                </a:lnTo>
                <a:lnTo>
                  <a:pt x="1104900" y="0"/>
                </a:lnTo>
                <a:lnTo>
                  <a:pt x="1152829" y="1020"/>
                </a:lnTo>
                <a:lnTo>
                  <a:pt x="1200237" y="4055"/>
                </a:lnTo>
                <a:lnTo>
                  <a:pt x="1247081" y="9062"/>
                </a:lnTo>
                <a:lnTo>
                  <a:pt x="1293321" y="16001"/>
                </a:lnTo>
                <a:lnTo>
                  <a:pt x="1338916" y="24828"/>
                </a:lnTo>
                <a:lnTo>
                  <a:pt x="1383822" y="35504"/>
                </a:lnTo>
                <a:lnTo>
                  <a:pt x="1428000" y="47987"/>
                </a:lnTo>
                <a:lnTo>
                  <a:pt x="1471407" y="62235"/>
                </a:lnTo>
                <a:lnTo>
                  <a:pt x="1514003" y="78207"/>
                </a:lnTo>
                <a:lnTo>
                  <a:pt x="1555745" y="95861"/>
                </a:lnTo>
                <a:lnTo>
                  <a:pt x="1596592" y="115155"/>
                </a:lnTo>
                <a:lnTo>
                  <a:pt x="1636504" y="136050"/>
                </a:lnTo>
                <a:lnTo>
                  <a:pt x="1675437" y="158502"/>
                </a:lnTo>
                <a:lnTo>
                  <a:pt x="1713352" y="182471"/>
                </a:lnTo>
                <a:lnTo>
                  <a:pt x="1750206" y="207914"/>
                </a:lnTo>
                <a:lnTo>
                  <a:pt x="1785958" y="234792"/>
                </a:lnTo>
                <a:lnTo>
                  <a:pt x="1820567" y="263062"/>
                </a:lnTo>
                <a:lnTo>
                  <a:pt x="1853990" y="292682"/>
                </a:lnTo>
                <a:lnTo>
                  <a:pt x="1886188" y="323611"/>
                </a:lnTo>
                <a:lnTo>
                  <a:pt x="1917117" y="355809"/>
                </a:lnTo>
                <a:lnTo>
                  <a:pt x="1946737" y="389232"/>
                </a:lnTo>
                <a:lnTo>
                  <a:pt x="1975007" y="423841"/>
                </a:lnTo>
                <a:lnTo>
                  <a:pt x="2001885" y="459593"/>
                </a:lnTo>
                <a:lnTo>
                  <a:pt x="2027328" y="496447"/>
                </a:lnTo>
                <a:lnTo>
                  <a:pt x="2051297" y="534362"/>
                </a:lnTo>
                <a:lnTo>
                  <a:pt x="2073749" y="573295"/>
                </a:lnTo>
                <a:lnTo>
                  <a:pt x="2094644" y="613207"/>
                </a:lnTo>
                <a:lnTo>
                  <a:pt x="2113938" y="654054"/>
                </a:lnTo>
                <a:lnTo>
                  <a:pt x="2131592" y="695796"/>
                </a:lnTo>
                <a:lnTo>
                  <a:pt x="2147564" y="738392"/>
                </a:lnTo>
                <a:lnTo>
                  <a:pt x="2161812" y="781799"/>
                </a:lnTo>
                <a:lnTo>
                  <a:pt x="2174295" y="825977"/>
                </a:lnTo>
                <a:lnTo>
                  <a:pt x="2184971" y="870883"/>
                </a:lnTo>
                <a:lnTo>
                  <a:pt x="2193798" y="916478"/>
                </a:lnTo>
                <a:lnTo>
                  <a:pt x="2200737" y="962718"/>
                </a:lnTo>
                <a:lnTo>
                  <a:pt x="2205744" y="1009562"/>
                </a:lnTo>
                <a:lnTo>
                  <a:pt x="2208779" y="1056970"/>
                </a:lnTo>
                <a:lnTo>
                  <a:pt x="2209800" y="1104900"/>
                </a:lnTo>
                <a:lnTo>
                  <a:pt x="2208779" y="1152829"/>
                </a:lnTo>
                <a:lnTo>
                  <a:pt x="2205744" y="1200237"/>
                </a:lnTo>
                <a:lnTo>
                  <a:pt x="2200737" y="1247081"/>
                </a:lnTo>
                <a:lnTo>
                  <a:pt x="2193798" y="1293321"/>
                </a:lnTo>
                <a:lnTo>
                  <a:pt x="2184971" y="1338916"/>
                </a:lnTo>
                <a:lnTo>
                  <a:pt x="2174295" y="1383822"/>
                </a:lnTo>
                <a:lnTo>
                  <a:pt x="2161812" y="1428000"/>
                </a:lnTo>
                <a:lnTo>
                  <a:pt x="2147564" y="1471407"/>
                </a:lnTo>
                <a:lnTo>
                  <a:pt x="2131592" y="1514003"/>
                </a:lnTo>
                <a:lnTo>
                  <a:pt x="2113938" y="1555745"/>
                </a:lnTo>
                <a:lnTo>
                  <a:pt x="2094644" y="1596592"/>
                </a:lnTo>
                <a:lnTo>
                  <a:pt x="2073749" y="1636504"/>
                </a:lnTo>
                <a:lnTo>
                  <a:pt x="2051297" y="1675437"/>
                </a:lnTo>
                <a:lnTo>
                  <a:pt x="2027328" y="1713352"/>
                </a:lnTo>
                <a:lnTo>
                  <a:pt x="2001885" y="1750206"/>
                </a:lnTo>
                <a:lnTo>
                  <a:pt x="1975007" y="1785958"/>
                </a:lnTo>
                <a:lnTo>
                  <a:pt x="1946737" y="1820567"/>
                </a:lnTo>
                <a:lnTo>
                  <a:pt x="1917117" y="1853990"/>
                </a:lnTo>
                <a:lnTo>
                  <a:pt x="1886188" y="1886188"/>
                </a:lnTo>
                <a:lnTo>
                  <a:pt x="1853990" y="1917117"/>
                </a:lnTo>
                <a:lnTo>
                  <a:pt x="1820567" y="1946737"/>
                </a:lnTo>
                <a:lnTo>
                  <a:pt x="1785958" y="1975007"/>
                </a:lnTo>
                <a:lnTo>
                  <a:pt x="1750206" y="2001885"/>
                </a:lnTo>
                <a:lnTo>
                  <a:pt x="1713352" y="2027328"/>
                </a:lnTo>
                <a:lnTo>
                  <a:pt x="1675437" y="2051297"/>
                </a:lnTo>
                <a:lnTo>
                  <a:pt x="1636504" y="2073749"/>
                </a:lnTo>
                <a:lnTo>
                  <a:pt x="1596592" y="2094644"/>
                </a:lnTo>
                <a:lnTo>
                  <a:pt x="1555745" y="2113938"/>
                </a:lnTo>
                <a:lnTo>
                  <a:pt x="1514003" y="2131592"/>
                </a:lnTo>
                <a:lnTo>
                  <a:pt x="1471407" y="2147564"/>
                </a:lnTo>
                <a:lnTo>
                  <a:pt x="1428000" y="2161812"/>
                </a:lnTo>
                <a:lnTo>
                  <a:pt x="1383822" y="2174295"/>
                </a:lnTo>
                <a:lnTo>
                  <a:pt x="1338916" y="2184971"/>
                </a:lnTo>
                <a:lnTo>
                  <a:pt x="1293321" y="2193798"/>
                </a:lnTo>
                <a:lnTo>
                  <a:pt x="1247081" y="2200737"/>
                </a:lnTo>
                <a:lnTo>
                  <a:pt x="1200237" y="2205744"/>
                </a:lnTo>
                <a:lnTo>
                  <a:pt x="1152829" y="2208779"/>
                </a:lnTo>
                <a:lnTo>
                  <a:pt x="1104900" y="2209800"/>
                </a:lnTo>
                <a:lnTo>
                  <a:pt x="1056970" y="2208779"/>
                </a:lnTo>
                <a:lnTo>
                  <a:pt x="1009562" y="2205744"/>
                </a:lnTo>
                <a:lnTo>
                  <a:pt x="962718" y="2200737"/>
                </a:lnTo>
                <a:lnTo>
                  <a:pt x="916478" y="2193798"/>
                </a:lnTo>
                <a:lnTo>
                  <a:pt x="870883" y="2184971"/>
                </a:lnTo>
                <a:lnTo>
                  <a:pt x="825977" y="2174295"/>
                </a:lnTo>
                <a:lnTo>
                  <a:pt x="781799" y="2161812"/>
                </a:lnTo>
                <a:lnTo>
                  <a:pt x="738392" y="2147564"/>
                </a:lnTo>
                <a:lnTo>
                  <a:pt x="695796" y="2131592"/>
                </a:lnTo>
                <a:lnTo>
                  <a:pt x="654054" y="2113938"/>
                </a:lnTo>
                <a:lnTo>
                  <a:pt x="613207" y="2094644"/>
                </a:lnTo>
                <a:lnTo>
                  <a:pt x="573295" y="2073749"/>
                </a:lnTo>
                <a:lnTo>
                  <a:pt x="534362" y="2051297"/>
                </a:lnTo>
                <a:lnTo>
                  <a:pt x="496447" y="2027328"/>
                </a:lnTo>
                <a:lnTo>
                  <a:pt x="459593" y="2001885"/>
                </a:lnTo>
                <a:lnTo>
                  <a:pt x="423841" y="1975007"/>
                </a:lnTo>
                <a:lnTo>
                  <a:pt x="389232" y="1946737"/>
                </a:lnTo>
                <a:lnTo>
                  <a:pt x="355809" y="1917117"/>
                </a:lnTo>
                <a:lnTo>
                  <a:pt x="323611" y="1886188"/>
                </a:lnTo>
                <a:lnTo>
                  <a:pt x="292682" y="1853990"/>
                </a:lnTo>
                <a:lnTo>
                  <a:pt x="263062" y="1820567"/>
                </a:lnTo>
                <a:lnTo>
                  <a:pt x="234792" y="1785958"/>
                </a:lnTo>
                <a:lnTo>
                  <a:pt x="207914" y="1750206"/>
                </a:lnTo>
                <a:lnTo>
                  <a:pt x="182471" y="1713352"/>
                </a:lnTo>
                <a:lnTo>
                  <a:pt x="158502" y="1675437"/>
                </a:lnTo>
                <a:lnTo>
                  <a:pt x="136050" y="1636504"/>
                </a:lnTo>
                <a:lnTo>
                  <a:pt x="115155" y="1596592"/>
                </a:lnTo>
                <a:lnTo>
                  <a:pt x="95861" y="1555745"/>
                </a:lnTo>
                <a:lnTo>
                  <a:pt x="78207" y="1514003"/>
                </a:lnTo>
                <a:lnTo>
                  <a:pt x="62235" y="1471407"/>
                </a:lnTo>
                <a:lnTo>
                  <a:pt x="47987" y="1428000"/>
                </a:lnTo>
                <a:lnTo>
                  <a:pt x="35504" y="1383822"/>
                </a:lnTo>
                <a:lnTo>
                  <a:pt x="24828" y="1338916"/>
                </a:lnTo>
                <a:lnTo>
                  <a:pt x="16001" y="1293321"/>
                </a:lnTo>
                <a:lnTo>
                  <a:pt x="9062" y="1247081"/>
                </a:lnTo>
                <a:lnTo>
                  <a:pt x="4055" y="1200237"/>
                </a:lnTo>
                <a:lnTo>
                  <a:pt x="1020" y="1152829"/>
                </a:lnTo>
                <a:lnTo>
                  <a:pt x="0" y="1104900"/>
                </a:lnTo>
                <a:close/>
              </a:path>
            </a:pathLst>
          </a:custGeom>
          <a:ln w="88900">
            <a:solidFill>
              <a:srgbClr val="000080"/>
            </a:solidFill>
          </a:ln>
        </p:spPr>
        <p:txBody>
          <a:bodyPr wrap="square" lIns="0" tIns="0" rIns="0" bIns="0" rtlCol="0"/>
          <a:lstStyle/>
          <a:p>
            <a:endParaRPr/>
          </a:p>
        </p:txBody>
      </p:sp>
      <p:sp>
        <p:nvSpPr>
          <p:cNvPr id="7" name="object 7"/>
          <p:cNvSpPr/>
          <p:nvPr/>
        </p:nvSpPr>
        <p:spPr>
          <a:xfrm>
            <a:off x="3253740" y="1549780"/>
            <a:ext cx="1138427" cy="641604"/>
          </a:xfrm>
          <a:prstGeom prst="rect">
            <a:avLst/>
          </a:prstGeom>
          <a:blipFill>
            <a:blip r:embed="rId3" cstate="print"/>
            <a:stretch>
              <a:fillRect/>
            </a:stretch>
          </a:blipFill>
        </p:spPr>
        <p:txBody>
          <a:bodyPr wrap="square" lIns="0" tIns="0" rIns="0" bIns="0" rtlCol="0"/>
          <a:lstStyle/>
          <a:p>
            <a:endParaRPr/>
          </a:p>
        </p:txBody>
      </p:sp>
      <p:sp>
        <p:nvSpPr>
          <p:cNvPr id="8" name="object 8"/>
          <p:cNvSpPr/>
          <p:nvPr/>
        </p:nvSpPr>
        <p:spPr>
          <a:xfrm>
            <a:off x="3253740" y="1549780"/>
            <a:ext cx="1138555" cy="641985"/>
          </a:xfrm>
          <a:custGeom>
            <a:avLst/>
            <a:gdLst/>
            <a:ahLst/>
            <a:cxnLst/>
            <a:rect l="l" t="t" r="r" b="b"/>
            <a:pathLst>
              <a:path w="1138554" h="641985">
                <a:moveTo>
                  <a:pt x="0" y="320802"/>
                </a:moveTo>
                <a:lnTo>
                  <a:pt x="13130" y="251985"/>
                </a:lnTo>
                <a:lnTo>
                  <a:pt x="50669" y="188310"/>
                </a:lnTo>
                <a:lnTo>
                  <a:pt x="77723" y="158891"/>
                </a:lnTo>
                <a:lnTo>
                  <a:pt x="109837" y="131344"/>
                </a:lnTo>
                <a:lnTo>
                  <a:pt x="146663" y="105866"/>
                </a:lnTo>
                <a:lnTo>
                  <a:pt x="187854" y="82652"/>
                </a:lnTo>
                <a:lnTo>
                  <a:pt x="233062" y="61898"/>
                </a:lnTo>
                <a:lnTo>
                  <a:pt x="281939" y="43800"/>
                </a:lnTo>
                <a:lnTo>
                  <a:pt x="334140" y="28554"/>
                </a:lnTo>
                <a:lnTo>
                  <a:pt x="389314" y="16355"/>
                </a:lnTo>
                <a:lnTo>
                  <a:pt x="447117" y="7399"/>
                </a:lnTo>
                <a:lnTo>
                  <a:pt x="507199" y="1882"/>
                </a:lnTo>
                <a:lnTo>
                  <a:pt x="569213" y="0"/>
                </a:lnTo>
                <a:lnTo>
                  <a:pt x="631250" y="1882"/>
                </a:lnTo>
                <a:lnTo>
                  <a:pt x="691348" y="7399"/>
                </a:lnTo>
                <a:lnTo>
                  <a:pt x="749161" y="16355"/>
                </a:lnTo>
                <a:lnTo>
                  <a:pt x="804342" y="28554"/>
                </a:lnTo>
                <a:lnTo>
                  <a:pt x="856544" y="43800"/>
                </a:lnTo>
                <a:lnTo>
                  <a:pt x="905420" y="61898"/>
                </a:lnTo>
                <a:lnTo>
                  <a:pt x="950624" y="82652"/>
                </a:lnTo>
                <a:lnTo>
                  <a:pt x="991808" y="105866"/>
                </a:lnTo>
                <a:lnTo>
                  <a:pt x="1028626" y="131344"/>
                </a:lnTo>
                <a:lnTo>
                  <a:pt x="1060732" y="158891"/>
                </a:lnTo>
                <a:lnTo>
                  <a:pt x="1087777" y="188310"/>
                </a:lnTo>
                <a:lnTo>
                  <a:pt x="1125303" y="251985"/>
                </a:lnTo>
                <a:lnTo>
                  <a:pt x="1138427" y="320802"/>
                </a:lnTo>
                <a:lnTo>
                  <a:pt x="1135088" y="355755"/>
                </a:lnTo>
                <a:lnTo>
                  <a:pt x="1125303" y="389618"/>
                </a:lnTo>
                <a:lnTo>
                  <a:pt x="1087777" y="453293"/>
                </a:lnTo>
                <a:lnTo>
                  <a:pt x="1060732" y="482712"/>
                </a:lnTo>
                <a:lnTo>
                  <a:pt x="1028626" y="510259"/>
                </a:lnTo>
                <a:lnTo>
                  <a:pt x="991808" y="535737"/>
                </a:lnTo>
                <a:lnTo>
                  <a:pt x="950624" y="558951"/>
                </a:lnTo>
                <a:lnTo>
                  <a:pt x="905420" y="579705"/>
                </a:lnTo>
                <a:lnTo>
                  <a:pt x="856544" y="597803"/>
                </a:lnTo>
                <a:lnTo>
                  <a:pt x="804342" y="613049"/>
                </a:lnTo>
                <a:lnTo>
                  <a:pt x="749161" y="625248"/>
                </a:lnTo>
                <a:lnTo>
                  <a:pt x="691348" y="634204"/>
                </a:lnTo>
                <a:lnTo>
                  <a:pt x="631250" y="639721"/>
                </a:lnTo>
                <a:lnTo>
                  <a:pt x="569213" y="641604"/>
                </a:lnTo>
                <a:lnTo>
                  <a:pt x="507199" y="639721"/>
                </a:lnTo>
                <a:lnTo>
                  <a:pt x="447117" y="634204"/>
                </a:lnTo>
                <a:lnTo>
                  <a:pt x="389314" y="625248"/>
                </a:lnTo>
                <a:lnTo>
                  <a:pt x="334140" y="613049"/>
                </a:lnTo>
                <a:lnTo>
                  <a:pt x="281940" y="597803"/>
                </a:lnTo>
                <a:lnTo>
                  <a:pt x="233062" y="579705"/>
                </a:lnTo>
                <a:lnTo>
                  <a:pt x="187854" y="558951"/>
                </a:lnTo>
                <a:lnTo>
                  <a:pt x="146663" y="535737"/>
                </a:lnTo>
                <a:lnTo>
                  <a:pt x="109837" y="510259"/>
                </a:lnTo>
                <a:lnTo>
                  <a:pt x="77724" y="482712"/>
                </a:lnTo>
                <a:lnTo>
                  <a:pt x="50669" y="453293"/>
                </a:lnTo>
                <a:lnTo>
                  <a:pt x="13130" y="389618"/>
                </a:lnTo>
                <a:lnTo>
                  <a:pt x="0" y="320802"/>
                </a:lnTo>
                <a:close/>
              </a:path>
            </a:pathLst>
          </a:custGeom>
          <a:ln w="12699">
            <a:solidFill>
              <a:srgbClr val="DBFFC8"/>
            </a:solidFill>
          </a:ln>
        </p:spPr>
        <p:txBody>
          <a:bodyPr wrap="square" lIns="0" tIns="0" rIns="0" bIns="0" rtlCol="0"/>
          <a:lstStyle/>
          <a:p>
            <a:endParaRPr/>
          </a:p>
        </p:txBody>
      </p:sp>
      <p:sp>
        <p:nvSpPr>
          <p:cNvPr id="9" name="object 9"/>
          <p:cNvSpPr txBox="1"/>
          <p:nvPr/>
        </p:nvSpPr>
        <p:spPr>
          <a:xfrm>
            <a:off x="3562858" y="1588896"/>
            <a:ext cx="520700" cy="560705"/>
          </a:xfrm>
          <a:prstGeom prst="rect">
            <a:avLst/>
          </a:prstGeom>
        </p:spPr>
        <p:txBody>
          <a:bodyPr vert="horz" wrap="square" lIns="0" tIns="0" rIns="0" bIns="0" rtlCol="0">
            <a:spAutoFit/>
          </a:bodyPr>
          <a:lstStyle/>
          <a:p>
            <a:pPr marL="62865" marR="5080" indent="-50800">
              <a:lnSpc>
                <a:spcPct val="100000"/>
              </a:lnSpc>
            </a:pPr>
            <a:r>
              <a:rPr sz="1800" b="1" spc="-5" dirty="0">
                <a:latin typeface="Times New Roman"/>
                <a:cs typeface="Times New Roman"/>
              </a:rPr>
              <a:t>Sales  Org</a:t>
            </a:r>
            <a:endParaRPr sz="1800">
              <a:latin typeface="Times New Roman"/>
              <a:cs typeface="Times New Roman"/>
            </a:endParaRPr>
          </a:p>
        </p:txBody>
      </p:sp>
      <p:sp>
        <p:nvSpPr>
          <p:cNvPr id="10" name="object 10"/>
          <p:cNvSpPr/>
          <p:nvPr/>
        </p:nvSpPr>
        <p:spPr>
          <a:xfrm>
            <a:off x="3011042" y="2690367"/>
            <a:ext cx="669670" cy="570230"/>
          </a:xfrm>
          <a:prstGeom prst="rect">
            <a:avLst/>
          </a:prstGeom>
          <a:blipFill>
            <a:blip r:embed="rId4" cstate="print"/>
            <a:stretch>
              <a:fillRect/>
            </a:stretch>
          </a:blipFill>
        </p:spPr>
        <p:txBody>
          <a:bodyPr wrap="square" lIns="0" tIns="0" rIns="0" bIns="0" rtlCol="0"/>
          <a:lstStyle/>
          <a:p>
            <a:endParaRPr/>
          </a:p>
        </p:txBody>
      </p:sp>
      <p:sp>
        <p:nvSpPr>
          <p:cNvPr id="11" name="object 11"/>
          <p:cNvSpPr/>
          <p:nvPr/>
        </p:nvSpPr>
        <p:spPr>
          <a:xfrm>
            <a:off x="3011042" y="2690367"/>
            <a:ext cx="669925" cy="570230"/>
          </a:xfrm>
          <a:custGeom>
            <a:avLst/>
            <a:gdLst/>
            <a:ahLst/>
            <a:cxnLst/>
            <a:rect l="l" t="t" r="r" b="b"/>
            <a:pathLst>
              <a:path w="669925" h="570229">
                <a:moveTo>
                  <a:pt x="0" y="285115"/>
                </a:moveTo>
                <a:lnTo>
                  <a:pt x="3629" y="242979"/>
                </a:lnTo>
                <a:lnTo>
                  <a:pt x="14172" y="202764"/>
                </a:lnTo>
                <a:lnTo>
                  <a:pt x="31110" y="164911"/>
                </a:lnTo>
                <a:lnTo>
                  <a:pt x="53928" y="129860"/>
                </a:lnTo>
                <a:lnTo>
                  <a:pt x="82106" y="98052"/>
                </a:lnTo>
                <a:lnTo>
                  <a:pt x="115127" y="69928"/>
                </a:lnTo>
                <a:lnTo>
                  <a:pt x="152475" y="45929"/>
                </a:lnTo>
                <a:lnTo>
                  <a:pt x="193630" y="26496"/>
                </a:lnTo>
                <a:lnTo>
                  <a:pt x="238077" y="12070"/>
                </a:lnTo>
                <a:lnTo>
                  <a:pt x="285296" y="3091"/>
                </a:lnTo>
                <a:lnTo>
                  <a:pt x="334771" y="0"/>
                </a:lnTo>
                <a:lnTo>
                  <a:pt x="384250" y="3091"/>
                </a:lnTo>
                <a:lnTo>
                  <a:pt x="431477" y="12070"/>
                </a:lnTo>
                <a:lnTo>
                  <a:pt x="475936" y="26496"/>
                </a:lnTo>
                <a:lnTo>
                  <a:pt x="517106" y="45929"/>
                </a:lnTo>
                <a:lnTo>
                  <a:pt x="554471" y="69928"/>
                </a:lnTo>
                <a:lnTo>
                  <a:pt x="587509" y="98052"/>
                </a:lnTo>
                <a:lnTo>
                  <a:pt x="615704" y="129860"/>
                </a:lnTo>
                <a:lnTo>
                  <a:pt x="638536" y="164911"/>
                </a:lnTo>
                <a:lnTo>
                  <a:pt x="655487" y="202764"/>
                </a:lnTo>
                <a:lnTo>
                  <a:pt x="666038" y="242979"/>
                </a:lnTo>
                <a:lnTo>
                  <a:pt x="669670" y="285115"/>
                </a:lnTo>
                <a:lnTo>
                  <a:pt x="666038" y="327250"/>
                </a:lnTo>
                <a:lnTo>
                  <a:pt x="655487" y="367465"/>
                </a:lnTo>
                <a:lnTo>
                  <a:pt x="638536" y="405318"/>
                </a:lnTo>
                <a:lnTo>
                  <a:pt x="615704" y="440369"/>
                </a:lnTo>
                <a:lnTo>
                  <a:pt x="587509" y="472177"/>
                </a:lnTo>
                <a:lnTo>
                  <a:pt x="554471" y="500301"/>
                </a:lnTo>
                <a:lnTo>
                  <a:pt x="517106" y="524300"/>
                </a:lnTo>
                <a:lnTo>
                  <a:pt x="475936" y="543733"/>
                </a:lnTo>
                <a:lnTo>
                  <a:pt x="431477" y="558159"/>
                </a:lnTo>
                <a:lnTo>
                  <a:pt x="384250" y="567138"/>
                </a:lnTo>
                <a:lnTo>
                  <a:pt x="334771" y="570230"/>
                </a:lnTo>
                <a:lnTo>
                  <a:pt x="285296" y="567138"/>
                </a:lnTo>
                <a:lnTo>
                  <a:pt x="238077" y="558159"/>
                </a:lnTo>
                <a:lnTo>
                  <a:pt x="193630" y="543733"/>
                </a:lnTo>
                <a:lnTo>
                  <a:pt x="152475" y="524300"/>
                </a:lnTo>
                <a:lnTo>
                  <a:pt x="115127" y="500301"/>
                </a:lnTo>
                <a:lnTo>
                  <a:pt x="82106" y="472177"/>
                </a:lnTo>
                <a:lnTo>
                  <a:pt x="53928" y="440369"/>
                </a:lnTo>
                <a:lnTo>
                  <a:pt x="31110" y="405318"/>
                </a:lnTo>
                <a:lnTo>
                  <a:pt x="14172" y="367465"/>
                </a:lnTo>
                <a:lnTo>
                  <a:pt x="3629" y="327250"/>
                </a:lnTo>
                <a:lnTo>
                  <a:pt x="0" y="285115"/>
                </a:lnTo>
                <a:close/>
              </a:path>
            </a:pathLst>
          </a:custGeom>
          <a:ln w="12700">
            <a:solidFill>
              <a:srgbClr val="FFFF00"/>
            </a:solidFill>
          </a:ln>
        </p:spPr>
        <p:txBody>
          <a:bodyPr wrap="square" lIns="0" tIns="0" rIns="0" bIns="0" rtlCol="0"/>
          <a:lstStyle/>
          <a:p>
            <a:endParaRPr/>
          </a:p>
        </p:txBody>
      </p:sp>
      <p:sp>
        <p:nvSpPr>
          <p:cNvPr id="12" name="object 12"/>
          <p:cNvSpPr txBox="1"/>
          <p:nvPr/>
        </p:nvSpPr>
        <p:spPr>
          <a:xfrm>
            <a:off x="3134995" y="2863850"/>
            <a:ext cx="424180" cy="225425"/>
          </a:xfrm>
          <a:prstGeom prst="rect">
            <a:avLst/>
          </a:prstGeom>
        </p:spPr>
        <p:txBody>
          <a:bodyPr vert="horz" wrap="square" lIns="0" tIns="0" rIns="0" bIns="0" rtlCol="0">
            <a:spAutoFit/>
          </a:bodyPr>
          <a:lstStyle/>
          <a:p>
            <a:pPr marL="12700">
              <a:lnSpc>
                <a:spcPct val="100000"/>
              </a:lnSpc>
            </a:pPr>
            <a:r>
              <a:rPr sz="1400" b="1" spc="-5" dirty="0">
                <a:latin typeface="Times New Roman"/>
                <a:cs typeface="Times New Roman"/>
              </a:rPr>
              <a:t>Div</a:t>
            </a:r>
            <a:r>
              <a:rPr sz="1400" b="1" spc="-114" dirty="0">
                <a:latin typeface="Times New Roman"/>
                <a:cs typeface="Times New Roman"/>
              </a:rPr>
              <a:t> </a:t>
            </a:r>
            <a:r>
              <a:rPr sz="1400" b="1" dirty="0">
                <a:latin typeface="Times New Roman"/>
                <a:cs typeface="Times New Roman"/>
              </a:rPr>
              <a:t>1</a:t>
            </a:r>
            <a:endParaRPr sz="1400">
              <a:latin typeface="Times New Roman"/>
              <a:cs typeface="Times New Roman"/>
            </a:endParaRPr>
          </a:p>
        </p:txBody>
      </p:sp>
      <p:sp>
        <p:nvSpPr>
          <p:cNvPr id="13" name="object 13"/>
          <p:cNvSpPr/>
          <p:nvPr/>
        </p:nvSpPr>
        <p:spPr>
          <a:xfrm>
            <a:off x="4023867" y="2699257"/>
            <a:ext cx="669671" cy="570229"/>
          </a:xfrm>
          <a:prstGeom prst="rect">
            <a:avLst/>
          </a:prstGeom>
          <a:blipFill>
            <a:blip r:embed="rId5" cstate="print"/>
            <a:stretch>
              <a:fillRect/>
            </a:stretch>
          </a:blipFill>
        </p:spPr>
        <p:txBody>
          <a:bodyPr wrap="square" lIns="0" tIns="0" rIns="0" bIns="0" rtlCol="0"/>
          <a:lstStyle/>
          <a:p>
            <a:endParaRPr/>
          </a:p>
        </p:txBody>
      </p:sp>
      <p:sp>
        <p:nvSpPr>
          <p:cNvPr id="14" name="object 14"/>
          <p:cNvSpPr/>
          <p:nvPr/>
        </p:nvSpPr>
        <p:spPr>
          <a:xfrm>
            <a:off x="4023867" y="2699257"/>
            <a:ext cx="669925" cy="570230"/>
          </a:xfrm>
          <a:custGeom>
            <a:avLst/>
            <a:gdLst/>
            <a:ahLst/>
            <a:cxnLst/>
            <a:rect l="l" t="t" r="r" b="b"/>
            <a:pathLst>
              <a:path w="669925" h="570229">
                <a:moveTo>
                  <a:pt x="0" y="285114"/>
                </a:moveTo>
                <a:lnTo>
                  <a:pt x="3629" y="242979"/>
                </a:lnTo>
                <a:lnTo>
                  <a:pt x="14172" y="202764"/>
                </a:lnTo>
                <a:lnTo>
                  <a:pt x="31110" y="164911"/>
                </a:lnTo>
                <a:lnTo>
                  <a:pt x="53928" y="129860"/>
                </a:lnTo>
                <a:lnTo>
                  <a:pt x="82106" y="98052"/>
                </a:lnTo>
                <a:lnTo>
                  <a:pt x="115127" y="69928"/>
                </a:lnTo>
                <a:lnTo>
                  <a:pt x="152475" y="45929"/>
                </a:lnTo>
                <a:lnTo>
                  <a:pt x="193630" y="26496"/>
                </a:lnTo>
                <a:lnTo>
                  <a:pt x="238077" y="12070"/>
                </a:lnTo>
                <a:lnTo>
                  <a:pt x="285296" y="3091"/>
                </a:lnTo>
                <a:lnTo>
                  <a:pt x="334772" y="0"/>
                </a:lnTo>
                <a:lnTo>
                  <a:pt x="384250" y="3091"/>
                </a:lnTo>
                <a:lnTo>
                  <a:pt x="431477" y="12070"/>
                </a:lnTo>
                <a:lnTo>
                  <a:pt x="475936" y="26496"/>
                </a:lnTo>
                <a:lnTo>
                  <a:pt x="517106" y="45929"/>
                </a:lnTo>
                <a:lnTo>
                  <a:pt x="554471" y="69928"/>
                </a:lnTo>
                <a:lnTo>
                  <a:pt x="587509" y="98052"/>
                </a:lnTo>
                <a:lnTo>
                  <a:pt x="615704" y="129860"/>
                </a:lnTo>
                <a:lnTo>
                  <a:pt x="638536" y="164911"/>
                </a:lnTo>
                <a:lnTo>
                  <a:pt x="655487" y="202764"/>
                </a:lnTo>
                <a:lnTo>
                  <a:pt x="666038" y="242979"/>
                </a:lnTo>
                <a:lnTo>
                  <a:pt x="669671" y="285114"/>
                </a:lnTo>
                <a:lnTo>
                  <a:pt x="666038" y="327250"/>
                </a:lnTo>
                <a:lnTo>
                  <a:pt x="655487" y="367465"/>
                </a:lnTo>
                <a:lnTo>
                  <a:pt x="638536" y="405318"/>
                </a:lnTo>
                <a:lnTo>
                  <a:pt x="615704" y="440369"/>
                </a:lnTo>
                <a:lnTo>
                  <a:pt x="587509" y="472177"/>
                </a:lnTo>
                <a:lnTo>
                  <a:pt x="554471" y="500301"/>
                </a:lnTo>
                <a:lnTo>
                  <a:pt x="517106" y="524300"/>
                </a:lnTo>
                <a:lnTo>
                  <a:pt x="475936" y="543733"/>
                </a:lnTo>
                <a:lnTo>
                  <a:pt x="431477" y="558159"/>
                </a:lnTo>
                <a:lnTo>
                  <a:pt x="384250" y="567138"/>
                </a:lnTo>
                <a:lnTo>
                  <a:pt x="334772" y="570229"/>
                </a:lnTo>
                <a:lnTo>
                  <a:pt x="285296" y="567138"/>
                </a:lnTo>
                <a:lnTo>
                  <a:pt x="238077" y="558159"/>
                </a:lnTo>
                <a:lnTo>
                  <a:pt x="193630" y="543733"/>
                </a:lnTo>
                <a:lnTo>
                  <a:pt x="152475" y="524300"/>
                </a:lnTo>
                <a:lnTo>
                  <a:pt x="115127" y="500301"/>
                </a:lnTo>
                <a:lnTo>
                  <a:pt x="82106" y="472177"/>
                </a:lnTo>
                <a:lnTo>
                  <a:pt x="53928" y="440369"/>
                </a:lnTo>
                <a:lnTo>
                  <a:pt x="31110" y="405318"/>
                </a:lnTo>
                <a:lnTo>
                  <a:pt x="14172" y="367465"/>
                </a:lnTo>
                <a:lnTo>
                  <a:pt x="3629" y="327250"/>
                </a:lnTo>
                <a:lnTo>
                  <a:pt x="0" y="285114"/>
                </a:lnTo>
                <a:close/>
              </a:path>
            </a:pathLst>
          </a:custGeom>
          <a:ln w="12699">
            <a:solidFill>
              <a:srgbClr val="FFFF00"/>
            </a:solidFill>
          </a:ln>
        </p:spPr>
        <p:txBody>
          <a:bodyPr wrap="square" lIns="0" tIns="0" rIns="0" bIns="0" rtlCol="0"/>
          <a:lstStyle/>
          <a:p>
            <a:endParaRPr/>
          </a:p>
        </p:txBody>
      </p:sp>
      <p:sp>
        <p:nvSpPr>
          <p:cNvPr id="15" name="object 15"/>
          <p:cNvSpPr txBox="1"/>
          <p:nvPr/>
        </p:nvSpPr>
        <p:spPr>
          <a:xfrm>
            <a:off x="4147820" y="2872613"/>
            <a:ext cx="424180" cy="225425"/>
          </a:xfrm>
          <a:prstGeom prst="rect">
            <a:avLst/>
          </a:prstGeom>
        </p:spPr>
        <p:txBody>
          <a:bodyPr vert="horz" wrap="square" lIns="0" tIns="0" rIns="0" bIns="0" rtlCol="0">
            <a:spAutoFit/>
          </a:bodyPr>
          <a:lstStyle/>
          <a:p>
            <a:pPr marL="12700">
              <a:lnSpc>
                <a:spcPct val="100000"/>
              </a:lnSpc>
            </a:pPr>
            <a:r>
              <a:rPr sz="1400" b="1" spc="-5" dirty="0">
                <a:latin typeface="Times New Roman"/>
                <a:cs typeface="Times New Roman"/>
              </a:rPr>
              <a:t>Div</a:t>
            </a:r>
            <a:r>
              <a:rPr sz="1400" b="1" spc="-114" dirty="0">
                <a:latin typeface="Times New Roman"/>
                <a:cs typeface="Times New Roman"/>
              </a:rPr>
              <a:t> </a:t>
            </a:r>
            <a:r>
              <a:rPr sz="1400" b="1" dirty="0">
                <a:latin typeface="Times New Roman"/>
                <a:cs typeface="Times New Roman"/>
              </a:rPr>
              <a:t>2</a:t>
            </a:r>
            <a:endParaRPr sz="1400">
              <a:latin typeface="Times New Roman"/>
              <a:cs typeface="Times New Roman"/>
            </a:endParaRPr>
          </a:p>
        </p:txBody>
      </p:sp>
      <p:sp>
        <p:nvSpPr>
          <p:cNvPr id="16" name="object 16"/>
          <p:cNvSpPr/>
          <p:nvPr/>
        </p:nvSpPr>
        <p:spPr>
          <a:xfrm>
            <a:off x="3345815" y="2227707"/>
            <a:ext cx="351155" cy="440690"/>
          </a:xfrm>
          <a:custGeom>
            <a:avLst/>
            <a:gdLst/>
            <a:ahLst/>
            <a:cxnLst/>
            <a:rect l="l" t="t" r="r" b="b"/>
            <a:pathLst>
              <a:path w="351154" h="440689">
                <a:moveTo>
                  <a:pt x="27686" y="304672"/>
                </a:moveTo>
                <a:lnTo>
                  <a:pt x="0" y="440308"/>
                </a:lnTo>
                <a:lnTo>
                  <a:pt x="125095" y="381000"/>
                </a:lnTo>
                <a:lnTo>
                  <a:pt x="113425" y="371855"/>
                </a:lnTo>
                <a:lnTo>
                  <a:pt x="79883" y="371855"/>
                </a:lnTo>
                <a:lnTo>
                  <a:pt x="47371" y="346455"/>
                </a:lnTo>
                <a:lnTo>
                  <a:pt x="60161" y="330120"/>
                </a:lnTo>
                <a:lnTo>
                  <a:pt x="27686" y="304672"/>
                </a:lnTo>
                <a:close/>
              </a:path>
              <a:path w="351154" h="440689">
                <a:moveTo>
                  <a:pt x="60161" y="330120"/>
                </a:moveTo>
                <a:lnTo>
                  <a:pt x="47371" y="346455"/>
                </a:lnTo>
                <a:lnTo>
                  <a:pt x="79883" y="371855"/>
                </a:lnTo>
                <a:lnTo>
                  <a:pt x="92637" y="355566"/>
                </a:lnTo>
                <a:lnTo>
                  <a:pt x="60161" y="330120"/>
                </a:lnTo>
                <a:close/>
              </a:path>
              <a:path w="351154" h="440689">
                <a:moveTo>
                  <a:pt x="92637" y="355566"/>
                </a:moveTo>
                <a:lnTo>
                  <a:pt x="79883" y="371855"/>
                </a:lnTo>
                <a:lnTo>
                  <a:pt x="113425" y="371855"/>
                </a:lnTo>
                <a:lnTo>
                  <a:pt x="92637" y="355566"/>
                </a:lnTo>
                <a:close/>
              </a:path>
              <a:path w="351154" h="440689">
                <a:moveTo>
                  <a:pt x="318643" y="0"/>
                </a:moveTo>
                <a:lnTo>
                  <a:pt x="60161" y="330120"/>
                </a:lnTo>
                <a:lnTo>
                  <a:pt x="92637" y="355566"/>
                </a:lnTo>
                <a:lnTo>
                  <a:pt x="351155" y="25400"/>
                </a:lnTo>
                <a:lnTo>
                  <a:pt x="318643" y="0"/>
                </a:lnTo>
                <a:close/>
              </a:path>
            </a:pathLst>
          </a:custGeom>
          <a:solidFill>
            <a:srgbClr val="000080"/>
          </a:solidFill>
        </p:spPr>
        <p:txBody>
          <a:bodyPr wrap="square" lIns="0" tIns="0" rIns="0" bIns="0" rtlCol="0"/>
          <a:lstStyle/>
          <a:p>
            <a:endParaRPr/>
          </a:p>
        </p:txBody>
      </p:sp>
      <p:sp>
        <p:nvSpPr>
          <p:cNvPr id="17" name="object 17"/>
          <p:cNvSpPr/>
          <p:nvPr/>
        </p:nvSpPr>
        <p:spPr>
          <a:xfrm>
            <a:off x="3986657" y="2214245"/>
            <a:ext cx="351155" cy="440690"/>
          </a:xfrm>
          <a:custGeom>
            <a:avLst/>
            <a:gdLst/>
            <a:ahLst/>
            <a:cxnLst/>
            <a:rect l="l" t="t" r="r" b="b"/>
            <a:pathLst>
              <a:path w="351154" h="440689">
                <a:moveTo>
                  <a:pt x="258533" y="355714"/>
                </a:moveTo>
                <a:lnTo>
                  <a:pt x="226059" y="381126"/>
                </a:lnTo>
                <a:lnTo>
                  <a:pt x="351154" y="440435"/>
                </a:lnTo>
                <a:lnTo>
                  <a:pt x="337246" y="371982"/>
                </a:lnTo>
                <a:lnTo>
                  <a:pt x="271271" y="371982"/>
                </a:lnTo>
                <a:lnTo>
                  <a:pt x="258533" y="355714"/>
                </a:lnTo>
                <a:close/>
              </a:path>
              <a:path w="351154" h="440689">
                <a:moveTo>
                  <a:pt x="291087" y="330239"/>
                </a:moveTo>
                <a:lnTo>
                  <a:pt x="258533" y="355714"/>
                </a:lnTo>
                <a:lnTo>
                  <a:pt x="271271" y="371982"/>
                </a:lnTo>
                <a:lnTo>
                  <a:pt x="303783" y="346455"/>
                </a:lnTo>
                <a:lnTo>
                  <a:pt x="291087" y="330239"/>
                </a:lnTo>
                <a:close/>
              </a:path>
              <a:path w="351154" h="440689">
                <a:moveTo>
                  <a:pt x="323595" y="304800"/>
                </a:moveTo>
                <a:lnTo>
                  <a:pt x="291087" y="330239"/>
                </a:lnTo>
                <a:lnTo>
                  <a:pt x="303783" y="346455"/>
                </a:lnTo>
                <a:lnTo>
                  <a:pt x="271271" y="371982"/>
                </a:lnTo>
                <a:lnTo>
                  <a:pt x="337246" y="371982"/>
                </a:lnTo>
                <a:lnTo>
                  <a:pt x="323595" y="304800"/>
                </a:lnTo>
                <a:close/>
              </a:path>
              <a:path w="351154" h="440689">
                <a:moveTo>
                  <a:pt x="32512" y="0"/>
                </a:moveTo>
                <a:lnTo>
                  <a:pt x="0" y="25526"/>
                </a:lnTo>
                <a:lnTo>
                  <a:pt x="258533" y="355714"/>
                </a:lnTo>
                <a:lnTo>
                  <a:pt x="291087" y="330239"/>
                </a:lnTo>
                <a:lnTo>
                  <a:pt x="32512" y="0"/>
                </a:lnTo>
                <a:close/>
              </a:path>
            </a:pathLst>
          </a:custGeom>
          <a:solidFill>
            <a:srgbClr val="000080"/>
          </a:solidFill>
        </p:spPr>
        <p:txBody>
          <a:bodyPr wrap="square" lIns="0" tIns="0" rIns="0" bIns="0" rtlCol="0"/>
          <a:lstStyle/>
          <a:p>
            <a:endParaRPr/>
          </a:p>
        </p:txBody>
      </p:sp>
      <p:sp>
        <p:nvSpPr>
          <p:cNvPr id="18" name="object 18"/>
          <p:cNvSpPr/>
          <p:nvPr/>
        </p:nvSpPr>
        <p:spPr>
          <a:xfrm>
            <a:off x="304800" y="1371600"/>
            <a:ext cx="2286000" cy="2133600"/>
          </a:xfrm>
          <a:custGeom>
            <a:avLst/>
            <a:gdLst/>
            <a:ahLst/>
            <a:cxnLst/>
            <a:rect l="l" t="t" r="r" b="b"/>
            <a:pathLst>
              <a:path w="2286000" h="2133600">
                <a:moveTo>
                  <a:pt x="1143000" y="0"/>
                </a:moveTo>
                <a:lnTo>
                  <a:pt x="1093418" y="985"/>
                </a:lnTo>
                <a:lnTo>
                  <a:pt x="1044376" y="3915"/>
                </a:lnTo>
                <a:lnTo>
                  <a:pt x="995917" y="8750"/>
                </a:lnTo>
                <a:lnTo>
                  <a:pt x="948083" y="15450"/>
                </a:lnTo>
                <a:lnTo>
                  <a:pt x="900917" y="23974"/>
                </a:lnTo>
                <a:lnTo>
                  <a:pt x="854463" y="34283"/>
                </a:lnTo>
                <a:lnTo>
                  <a:pt x="808762" y="46336"/>
                </a:lnTo>
                <a:lnTo>
                  <a:pt x="763858" y="60093"/>
                </a:lnTo>
                <a:lnTo>
                  <a:pt x="719794" y="75515"/>
                </a:lnTo>
                <a:lnTo>
                  <a:pt x="676613" y="92561"/>
                </a:lnTo>
                <a:lnTo>
                  <a:pt x="634357" y="111192"/>
                </a:lnTo>
                <a:lnTo>
                  <a:pt x="593069" y="131366"/>
                </a:lnTo>
                <a:lnTo>
                  <a:pt x="552793" y="153045"/>
                </a:lnTo>
                <a:lnTo>
                  <a:pt x="513571" y="176189"/>
                </a:lnTo>
                <a:lnTo>
                  <a:pt x="475446" y="200756"/>
                </a:lnTo>
                <a:lnTo>
                  <a:pt x="438461" y="226708"/>
                </a:lnTo>
                <a:lnTo>
                  <a:pt x="402659" y="254003"/>
                </a:lnTo>
                <a:lnTo>
                  <a:pt x="368082" y="282603"/>
                </a:lnTo>
                <a:lnTo>
                  <a:pt x="334775" y="312467"/>
                </a:lnTo>
                <a:lnTo>
                  <a:pt x="302778" y="343555"/>
                </a:lnTo>
                <a:lnTo>
                  <a:pt x="272136" y="375827"/>
                </a:lnTo>
                <a:lnTo>
                  <a:pt x="242892" y="409242"/>
                </a:lnTo>
                <a:lnTo>
                  <a:pt x="215087" y="443762"/>
                </a:lnTo>
                <a:lnTo>
                  <a:pt x="188766" y="479346"/>
                </a:lnTo>
                <a:lnTo>
                  <a:pt x="163970" y="515953"/>
                </a:lnTo>
                <a:lnTo>
                  <a:pt x="140743" y="553544"/>
                </a:lnTo>
                <a:lnTo>
                  <a:pt x="119128" y="592079"/>
                </a:lnTo>
                <a:lnTo>
                  <a:pt x="99168" y="631517"/>
                </a:lnTo>
                <a:lnTo>
                  <a:pt x="80905" y="671820"/>
                </a:lnTo>
                <a:lnTo>
                  <a:pt x="64382" y="712946"/>
                </a:lnTo>
                <a:lnTo>
                  <a:pt x="49643" y="754855"/>
                </a:lnTo>
                <a:lnTo>
                  <a:pt x="36729" y="797508"/>
                </a:lnTo>
                <a:lnTo>
                  <a:pt x="25685" y="840865"/>
                </a:lnTo>
                <a:lnTo>
                  <a:pt x="16553" y="884885"/>
                </a:lnTo>
                <a:lnTo>
                  <a:pt x="9375" y="929528"/>
                </a:lnTo>
                <a:lnTo>
                  <a:pt x="4195" y="974755"/>
                </a:lnTo>
                <a:lnTo>
                  <a:pt x="1056" y="1020526"/>
                </a:lnTo>
                <a:lnTo>
                  <a:pt x="0" y="1066800"/>
                </a:lnTo>
                <a:lnTo>
                  <a:pt x="1056" y="1113073"/>
                </a:lnTo>
                <a:lnTo>
                  <a:pt x="4195" y="1158844"/>
                </a:lnTo>
                <a:lnTo>
                  <a:pt x="9375" y="1204071"/>
                </a:lnTo>
                <a:lnTo>
                  <a:pt x="16553" y="1248714"/>
                </a:lnTo>
                <a:lnTo>
                  <a:pt x="25685" y="1292734"/>
                </a:lnTo>
                <a:lnTo>
                  <a:pt x="36729" y="1336091"/>
                </a:lnTo>
                <a:lnTo>
                  <a:pt x="49643" y="1378744"/>
                </a:lnTo>
                <a:lnTo>
                  <a:pt x="64382" y="1420653"/>
                </a:lnTo>
                <a:lnTo>
                  <a:pt x="80905" y="1461779"/>
                </a:lnTo>
                <a:lnTo>
                  <a:pt x="99168" y="1502082"/>
                </a:lnTo>
                <a:lnTo>
                  <a:pt x="119128" y="1541520"/>
                </a:lnTo>
                <a:lnTo>
                  <a:pt x="140743" y="1580055"/>
                </a:lnTo>
                <a:lnTo>
                  <a:pt x="163970" y="1617646"/>
                </a:lnTo>
                <a:lnTo>
                  <a:pt x="188766" y="1654253"/>
                </a:lnTo>
                <a:lnTo>
                  <a:pt x="215087" y="1689837"/>
                </a:lnTo>
                <a:lnTo>
                  <a:pt x="242892" y="1724357"/>
                </a:lnTo>
                <a:lnTo>
                  <a:pt x="272136" y="1757772"/>
                </a:lnTo>
                <a:lnTo>
                  <a:pt x="302778" y="1790044"/>
                </a:lnTo>
                <a:lnTo>
                  <a:pt x="334775" y="1821132"/>
                </a:lnTo>
                <a:lnTo>
                  <a:pt x="368082" y="1850996"/>
                </a:lnTo>
                <a:lnTo>
                  <a:pt x="402659" y="1879596"/>
                </a:lnTo>
                <a:lnTo>
                  <a:pt x="438461" y="1906891"/>
                </a:lnTo>
                <a:lnTo>
                  <a:pt x="475446" y="1932843"/>
                </a:lnTo>
                <a:lnTo>
                  <a:pt x="513571" y="1957410"/>
                </a:lnTo>
                <a:lnTo>
                  <a:pt x="552793" y="1980554"/>
                </a:lnTo>
                <a:lnTo>
                  <a:pt x="593069" y="2002233"/>
                </a:lnTo>
                <a:lnTo>
                  <a:pt x="634357" y="2022407"/>
                </a:lnTo>
                <a:lnTo>
                  <a:pt x="676613" y="2041038"/>
                </a:lnTo>
                <a:lnTo>
                  <a:pt x="719794" y="2058084"/>
                </a:lnTo>
                <a:lnTo>
                  <a:pt x="763858" y="2073506"/>
                </a:lnTo>
                <a:lnTo>
                  <a:pt x="808762" y="2087263"/>
                </a:lnTo>
                <a:lnTo>
                  <a:pt x="854463" y="2099316"/>
                </a:lnTo>
                <a:lnTo>
                  <a:pt x="900917" y="2109625"/>
                </a:lnTo>
                <a:lnTo>
                  <a:pt x="948083" y="2118149"/>
                </a:lnTo>
                <a:lnTo>
                  <a:pt x="995917" y="2124849"/>
                </a:lnTo>
                <a:lnTo>
                  <a:pt x="1044376" y="2129684"/>
                </a:lnTo>
                <a:lnTo>
                  <a:pt x="1093418" y="2132614"/>
                </a:lnTo>
                <a:lnTo>
                  <a:pt x="1143000" y="2133600"/>
                </a:lnTo>
                <a:lnTo>
                  <a:pt x="1192585" y="2132614"/>
                </a:lnTo>
                <a:lnTo>
                  <a:pt x="1241630" y="2129684"/>
                </a:lnTo>
                <a:lnTo>
                  <a:pt x="1290092" y="2124849"/>
                </a:lnTo>
                <a:lnTo>
                  <a:pt x="1337929" y="2118149"/>
                </a:lnTo>
                <a:lnTo>
                  <a:pt x="1385097" y="2109625"/>
                </a:lnTo>
                <a:lnTo>
                  <a:pt x="1431553" y="2099316"/>
                </a:lnTo>
                <a:lnTo>
                  <a:pt x="1477256" y="2087263"/>
                </a:lnTo>
                <a:lnTo>
                  <a:pt x="1522161" y="2073506"/>
                </a:lnTo>
                <a:lnTo>
                  <a:pt x="1566226" y="2058084"/>
                </a:lnTo>
                <a:lnTo>
                  <a:pt x="1609408" y="2041038"/>
                </a:lnTo>
                <a:lnTo>
                  <a:pt x="1651665" y="2022407"/>
                </a:lnTo>
                <a:lnTo>
                  <a:pt x="1692952" y="2002233"/>
                </a:lnTo>
                <a:lnTo>
                  <a:pt x="1733229" y="1980554"/>
                </a:lnTo>
                <a:lnTo>
                  <a:pt x="1772450" y="1957410"/>
                </a:lnTo>
                <a:lnTo>
                  <a:pt x="1810575" y="1932843"/>
                </a:lnTo>
                <a:lnTo>
                  <a:pt x="1847559" y="1906891"/>
                </a:lnTo>
                <a:lnTo>
                  <a:pt x="1883361" y="1879596"/>
                </a:lnTo>
                <a:lnTo>
                  <a:pt x="1917937" y="1850996"/>
                </a:lnTo>
                <a:lnTo>
                  <a:pt x="1951243" y="1821132"/>
                </a:lnTo>
                <a:lnTo>
                  <a:pt x="1983239" y="1790044"/>
                </a:lnTo>
                <a:lnTo>
                  <a:pt x="2013879" y="1757772"/>
                </a:lnTo>
                <a:lnTo>
                  <a:pt x="2043123" y="1724357"/>
                </a:lnTo>
                <a:lnTo>
                  <a:pt x="2070926" y="1689837"/>
                </a:lnTo>
                <a:lnTo>
                  <a:pt x="2097246" y="1654253"/>
                </a:lnTo>
                <a:lnTo>
                  <a:pt x="2122041" y="1617646"/>
                </a:lnTo>
                <a:lnTo>
                  <a:pt x="2145266" y="1580055"/>
                </a:lnTo>
                <a:lnTo>
                  <a:pt x="2166880" y="1541520"/>
                </a:lnTo>
                <a:lnTo>
                  <a:pt x="2186839" y="1502082"/>
                </a:lnTo>
                <a:lnTo>
                  <a:pt x="2205101" y="1461779"/>
                </a:lnTo>
                <a:lnTo>
                  <a:pt x="2221622" y="1420653"/>
                </a:lnTo>
                <a:lnTo>
                  <a:pt x="2236361" y="1378744"/>
                </a:lnTo>
                <a:lnTo>
                  <a:pt x="2249273" y="1336091"/>
                </a:lnTo>
                <a:lnTo>
                  <a:pt x="2260316" y="1292734"/>
                </a:lnTo>
                <a:lnTo>
                  <a:pt x="2269448" y="1248714"/>
                </a:lnTo>
                <a:lnTo>
                  <a:pt x="2276625" y="1204071"/>
                </a:lnTo>
                <a:lnTo>
                  <a:pt x="2281804" y="1158844"/>
                </a:lnTo>
                <a:lnTo>
                  <a:pt x="2284944" y="1113073"/>
                </a:lnTo>
                <a:lnTo>
                  <a:pt x="2286000" y="1066800"/>
                </a:lnTo>
                <a:lnTo>
                  <a:pt x="2284944" y="1020526"/>
                </a:lnTo>
                <a:lnTo>
                  <a:pt x="2281804" y="974755"/>
                </a:lnTo>
                <a:lnTo>
                  <a:pt x="2276625" y="929528"/>
                </a:lnTo>
                <a:lnTo>
                  <a:pt x="2269448" y="884885"/>
                </a:lnTo>
                <a:lnTo>
                  <a:pt x="2260316" y="840865"/>
                </a:lnTo>
                <a:lnTo>
                  <a:pt x="2249273" y="797508"/>
                </a:lnTo>
                <a:lnTo>
                  <a:pt x="2236361" y="754855"/>
                </a:lnTo>
                <a:lnTo>
                  <a:pt x="2221622" y="712946"/>
                </a:lnTo>
                <a:lnTo>
                  <a:pt x="2205101" y="671820"/>
                </a:lnTo>
                <a:lnTo>
                  <a:pt x="2186839" y="631517"/>
                </a:lnTo>
                <a:lnTo>
                  <a:pt x="2166880" y="592079"/>
                </a:lnTo>
                <a:lnTo>
                  <a:pt x="2145266" y="553544"/>
                </a:lnTo>
                <a:lnTo>
                  <a:pt x="2122041" y="515953"/>
                </a:lnTo>
                <a:lnTo>
                  <a:pt x="2097246" y="479346"/>
                </a:lnTo>
                <a:lnTo>
                  <a:pt x="2070926" y="443762"/>
                </a:lnTo>
                <a:lnTo>
                  <a:pt x="2043123" y="409242"/>
                </a:lnTo>
                <a:lnTo>
                  <a:pt x="2013879" y="375827"/>
                </a:lnTo>
                <a:lnTo>
                  <a:pt x="1983239" y="343555"/>
                </a:lnTo>
                <a:lnTo>
                  <a:pt x="1951243" y="312467"/>
                </a:lnTo>
                <a:lnTo>
                  <a:pt x="1917937" y="282603"/>
                </a:lnTo>
                <a:lnTo>
                  <a:pt x="1883361" y="254003"/>
                </a:lnTo>
                <a:lnTo>
                  <a:pt x="1847559" y="226708"/>
                </a:lnTo>
                <a:lnTo>
                  <a:pt x="1810575" y="200756"/>
                </a:lnTo>
                <a:lnTo>
                  <a:pt x="1772450" y="176189"/>
                </a:lnTo>
                <a:lnTo>
                  <a:pt x="1733229" y="153045"/>
                </a:lnTo>
                <a:lnTo>
                  <a:pt x="1692952" y="131366"/>
                </a:lnTo>
                <a:lnTo>
                  <a:pt x="1651665" y="111192"/>
                </a:lnTo>
                <a:lnTo>
                  <a:pt x="1609408" y="92561"/>
                </a:lnTo>
                <a:lnTo>
                  <a:pt x="1566226" y="75515"/>
                </a:lnTo>
                <a:lnTo>
                  <a:pt x="1522161" y="60093"/>
                </a:lnTo>
                <a:lnTo>
                  <a:pt x="1477256" y="46336"/>
                </a:lnTo>
                <a:lnTo>
                  <a:pt x="1431553" y="34283"/>
                </a:lnTo>
                <a:lnTo>
                  <a:pt x="1385097" y="23974"/>
                </a:lnTo>
                <a:lnTo>
                  <a:pt x="1337929" y="15450"/>
                </a:lnTo>
                <a:lnTo>
                  <a:pt x="1290092" y="8750"/>
                </a:lnTo>
                <a:lnTo>
                  <a:pt x="1241630" y="3915"/>
                </a:lnTo>
                <a:lnTo>
                  <a:pt x="1192585" y="985"/>
                </a:lnTo>
                <a:lnTo>
                  <a:pt x="1143000" y="0"/>
                </a:lnTo>
                <a:close/>
              </a:path>
            </a:pathLst>
          </a:custGeom>
          <a:solidFill>
            <a:srgbClr val="AED6FF"/>
          </a:solidFill>
        </p:spPr>
        <p:txBody>
          <a:bodyPr wrap="square" lIns="0" tIns="0" rIns="0" bIns="0" rtlCol="0"/>
          <a:lstStyle/>
          <a:p>
            <a:endParaRPr/>
          </a:p>
        </p:txBody>
      </p:sp>
      <p:sp>
        <p:nvSpPr>
          <p:cNvPr id="19" name="object 19"/>
          <p:cNvSpPr/>
          <p:nvPr/>
        </p:nvSpPr>
        <p:spPr>
          <a:xfrm>
            <a:off x="304800" y="1371600"/>
            <a:ext cx="2286000" cy="2133600"/>
          </a:xfrm>
          <a:custGeom>
            <a:avLst/>
            <a:gdLst/>
            <a:ahLst/>
            <a:cxnLst/>
            <a:rect l="l" t="t" r="r" b="b"/>
            <a:pathLst>
              <a:path w="2286000" h="2133600">
                <a:moveTo>
                  <a:pt x="0" y="1066800"/>
                </a:moveTo>
                <a:lnTo>
                  <a:pt x="1056" y="1020526"/>
                </a:lnTo>
                <a:lnTo>
                  <a:pt x="4195" y="974755"/>
                </a:lnTo>
                <a:lnTo>
                  <a:pt x="9375" y="929528"/>
                </a:lnTo>
                <a:lnTo>
                  <a:pt x="16553" y="884885"/>
                </a:lnTo>
                <a:lnTo>
                  <a:pt x="25685" y="840865"/>
                </a:lnTo>
                <a:lnTo>
                  <a:pt x="36729" y="797508"/>
                </a:lnTo>
                <a:lnTo>
                  <a:pt x="49643" y="754855"/>
                </a:lnTo>
                <a:lnTo>
                  <a:pt x="64382" y="712946"/>
                </a:lnTo>
                <a:lnTo>
                  <a:pt x="80905" y="671820"/>
                </a:lnTo>
                <a:lnTo>
                  <a:pt x="99168" y="631517"/>
                </a:lnTo>
                <a:lnTo>
                  <a:pt x="119128" y="592079"/>
                </a:lnTo>
                <a:lnTo>
                  <a:pt x="140743" y="553544"/>
                </a:lnTo>
                <a:lnTo>
                  <a:pt x="163970" y="515953"/>
                </a:lnTo>
                <a:lnTo>
                  <a:pt x="188766" y="479346"/>
                </a:lnTo>
                <a:lnTo>
                  <a:pt x="215087" y="443762"/>
                </a:lnTo>
                <a:lnTo>
                  <a:pt x="242892" y="409242"/>
                </a:lnTo>
                <a:lnTo>
                  <a:pt x="272136" y="375827"/>
                </a:lnTo>
                <a:lnTo>
                  <a:pt x="302778" y="343555"/>
                </a:lnTo>
                <a:lnTo>
                  <a:pt x="334775" y="312467"/>
                </a:lnTo>
                <a:lnTo>
                  <a:pt x="368082" y="282603"/>
                </a:lnTo>
                <a:lnTo>
                  <a:pt x="402659" y="254003"/>
                </a:lnTo>
                <a:lnTo>
                  <a:pt x="438461" y="226708"/>
                </a:lnTo>
                <a:lnTo>
                  <a:pt x="475446" y="200756"/>
                </a:lnTo>
                <a:lnTo>
                  <a:pt x="513571" y="176189"/>
                </a:lnTo>
                <a:lnTo>
                  <a:pt x="552793" y="153045"/>
                </a:lnTo>
                <a:lnTo>
                  <a:pt x="593069" y="131366"/>
                </a:lnTo>
                <a:lnTo>
                  <a:pt x="634357" y="111192"/>
                </a:lnTo>
                <a:lnTo>
                  <a:pt x="676613" y="92561"/>
                </a:lnTo>
                <a:lnTo>
                  <a:pt x="719794" y="75515"/>
                </a:lnTo>
                <a:lnTo>
                  <a:pt x="763858" y="60093"/>
                </a:lnTo>
                <a:lnTo>
                  <a:pt x="808762" y="46336"/>
                </a:lnTo>
                <a:lnTo>
                  <a:pt x="854463" y="34283"/>
                </a:lnTo>
                <a:lnTo>
                  <a:pt x="900917" y="23974"/>
                </a:lnTo>
                <a:lnTo>
                  <a:pt x="948083" y="15450"/>
                </a:lnTo>
                <a:lnTo>
                  <a:pt x="995917" y="8750"/>
                </a:lnTo>
                <a:lnTo>
                  <a:pt x="1044376" y="3915"/>
                </a:lnTo>
                <a:lnTo>
                  <a:pt x="1093418" y="985"/>
                </a:lnTo>
                <a:lnTo>
                  <a:pt x="1143000" y="0"/>
                </a:lnTo>
                <a:lnTo>
                  <a:pt x="1192585" y="985"/>
                </a:lnTo>
                <a:lnTo>
                  <a:pt x="1241630" y="3915"/>
                </a:lnTo>
                <a:lnTo>
                  <a:pt x="1290092" y="8750"/>
                </a:lnTo>
                <a:lnTo>
                  <a:pt x="1337929" y="15450"/>
                </a:lnTo>
                <a:lnTo>
                  <a:pt x="1385097" y="23974"/>
                </a:lnTo>
                <a:lnTo>
                  <a:pt x="1431553" y="34283"/>
                </a:lnTo>
                <a:lnTo>
                  <a:pt x="1477256" y="46336"/>
                </a:lnTo>
                <a:lnTo>
                  <a:pt x="1522161" y="60093"/>
                </a:lnTo>
                <a:lnTo>
                  <a:pt x="1566226" y="75515"/>
                </a:lnTo>
                <a:lnTo>
                  <a:pt x="1609408" y="92561"/>
                </a:lnTo>
                <a:lnTo>
                  <a:pt x="1651665" y="111192"/>
                </a:lnTo>
                <a:lnTo>
                  <a:pt x="1692952" y="131366"/>
                </a:lnTo>
                <a:lnTo>
                  <a:pt x="1733229" y="153045"/>
                </a:lnTo>
                <a:lnTo>
                  <a:pt x="1772450" y="176189"/>
                </a:lnTo>
                <a:lnTo>
                  <a:pt x="1810575" y="200756"/>
                </a:lnTo>
                <a:lnTo>
                  <a:pt x="1847559" y="226708"/>
                </a:lnTo>
                <a:lnTo>
                  <a:pt x="1883361" y="254003"/>
                </a:lnTo>
                <a:lnTo>
                  <a:pt x="1917937" y="282603"/>
                </a:lnTo>
                <a:lnTo>
                  <a:pt x="1951243" y="312467"/>
                </a:lnTo>
                <a:lnTo>
                  <a:pt x="1983239" y="343555"/>
                </a:lnTo>
                <a:lnTo>
                  <a:pt x="2013879" y="375827"/>
                </a:lnTo>
                <a:lnTo>
                  <a:pt x="2043123" y="409242"/>
                </a:lnTo>
                <a:lnTo>
                  <a:pt x="2070926" y="443762"/>
                </a:lnTo>
                <a:lnTo>
                  <a:pt x="2097246" y="479346"/>
                </a:lnTo>
                <a:lnTo>
                  <a:pt x="2122041" y="515953"/>
                </a:lnTo>
                <a:lnTo>
                  <a:pt x="2145266" y="553544"/>
                </a:lnTo>
                <a:lnTo>
                  <a:pt x="2166880" y="592079"/>
                </a:lnTo>
                <a:lnTo>
                  <a:pt x="2186839" y="631517"/>
                </a:lnTo>
                <a:lnTo>
                  <a:pt x="2205101" y="671820"/>
                </a:lnTo>
                <a:lnTo>
                  <a:pt x="2221622" y="712946"/>
                </a:lnTo>
                <a:lnTo>
                  <a:pt x="2236361" y="754855"/>
                </a:lnTo>
                <a:lnTo>
                  <a:pt x="2249273" y="797508"/>
                </a:lnTo>
                <a:lnTo>
                  <a:pt x="2260316" y="840865"/>
                </a:lnTo>
                <a:lnTo>
                  <a:pt x="2269448" y="884885"/>
                </a:lnTo>
                <a:lnTo>
                  <a:pt x="2276625" y="929528"/>
                </a:lnTo>
                <a:lnTo>
                  <a:pt x="2281804" y="974755"/>
                </a:lnTo>
                <a:lnTo>
                  <a:pt x="2284944" y="1020526"/>
                </a:lnTo>
                <a:lnTo>
                  <a:pt x="2286000" y="1066800"/>
                </a:lnTo>
                <a:lnTo>
                  <a:pt x="2284944" y="1113073"/>
                </a:lnTo>
                <a:lnTo>
                  <a:pt x="2281804" y="1158844"/>
                </a:lnTo>
                <a:lnTo>
                  <a:pt x="2276625" y="1204071"/>
                </a:lnTo>
                <a:lnTo>
                  <a:pt x="2269448" y="1248714"/>
                </a:lnTo>
                <a:lnTo>
                  <a:pt x="2260316" y="1292734"/>
                </a:lnTo>
                <a:lnTo>
                  <a:pt x="2249273" y="1336091"/>
                </a:lnTo>
                <a:lnTo>
                  <a:pt x="2236361" y="1378744"/>
                </a:lnTo>
                <a:lnTo>
                  <a:pt x="2221622" y="1420653"/>
                </a:lnTo>
                <a:lnTo>
                  <a:pt x="2205101" y="1461779"/>
                </a:lnTo>
                <a:lnTo>
                  <a:pt x="2186839" y="1502082"/>
                </a:lnTo>
                <a:lnTo>
                  <a:pt x="2166880" y="1541520"/>
                </a:lnTo>
                <a:lnTo>
                  <a:pt x="2145266" y="1580055"/>
                </a:lnTo>
                <a:lnTo>
                  <a:pt x="2122041" y="1617646"/>
                </a:lnTo>
                <a:lnTo>
                  <a:pt x="2097246" y="1654253"/>
                </a:lnTo>
                <a:lnTo>
                  <a:pt x="2070926" y="1689837"/>
                </a:lnTo>
                <a:lnTo>
                  <a:pt x="2043123" y="1724357"/>
                </a:lnTo>
                <a:lnTo>
                  <a:pt x="2013879" y="1757772"/>
                </a:lnTo>
                <a:lnTo>
                  <a:pt x="1983239" y="1790044"/>
                </a:lnTo>
                <a:lnTo>
                  <a:pt x="1951243" y="1821132"/>
                </a:lnTo>
                <a:lnTo>
                  <a:pt x="1917937" y="1850996"/>
                </a:lnTo>
                <a:lnTo>
                  <a:pt x="1883361" y="1879596"/>
                </a:lnTo>
                <a:lnTo>
                  <a:pt x="1847559" y="1906891"/>
                </a:lnTo>
                <a:lnTo>
                  <a:pt x="1810575" y="1932843"/>
                </a:lnTo>
                <a:lnTo>
                  <a:pt x="1772450" y="1957410"/>
                </a:lnTo>
                <a:lnTo>
                  <a:pt x="1733229" y="1980554"/>
                </a:lnTo>
                <a:lnTo>
                  <a:pt x="1692952" y="2002233"/>
                </a:lnTo>
                <a:lnTo>
                  <a:pt x="1651665" y="2022407"/>
                </a:lnTo>
                <a:lnTo>
                  <a:pt x="1609408" y="2041038"/>
                </a:lnTo>
                <a:lnTo>
                  <a:pt x="1566226" y="2058084"/>
                </a:lnTo>
                <a:lnTo>
                  <a:pt x="1522161" y="2073506"/>
                </a:lnTo>
                <a:lnTo>
                  <a:pt x="1477256" y="2087263"/>
                </a:lnTo>
                <a:lnTo>
                  <a:pt x="1431553" y="2099316"/>
                </a:lnTo>
                <a:lnTo>
                  <a:pt x="1385097" y="2109625"/>
                </a:lnTo>
                <a:lnTo>
                  <a:pt x="1337929" y="2118149"/>
                </a:lnTo>
                <a:lnTo>
                  <a:pt x="1290092" y="2124849"/>
                </a:lnTo>
                <a:lnTo>
                  <a:pt x="1241630" y="2129684"/>
                </a:lnTo>
                <a:lnTo>
                  <a:pt x="1192585" y="2132614"/>
                </a:lnTo>
                <a:lnTo>
                  <a:pt x="1143000" y="2133600"/>
                </a:lnTo>
                <a:lnTo>
                  <a:pt x="1093418" y="2132614"/>
                </a:lnTo>
                <a:lnTo>
                  <a:pt x="1044376" y="2129684"/>
                </a:lnTo>
                <a:lnTo>
                  <a:pt x="995917" y="2124849"/>
                </a:lnTo>
                <a:lnTo>
                  <a:pt x="948083" y="2118149"/>
                </a:lnTo>
                <a:lnTo>
                  <a:pt x="900917" y="2109625"/>
                </a:lnTo>
                <a:lnTo>
                  <a:pt x="854463" y="2099316"/>
                </a:lnTo>
                <a:lnTo>
                  <a:pt x="808762" y="2087263"/>
                </a:lnTo>
                <a:lnTo>
                  <a:pt x="763858" y="2073506"/>
                </a:lnTo>
                <a:lnTo>
                  <a:pt x="719794" y="2058084"/>
                </a:lnTo>
                <a:lnTo>
                  <a:pt x="676613" y="2041038"/>
                </a:lnTo>
                <a:lnTo>
                  <a:pt x="634357" y="2022407"/>
                </a:lnTo>
                <a:lnTo>
                  <a:pt x="593069" y="2002233"/>
                </a:lnTo>
                <a:lnTo>
                  <a:pt x="552793" y="1980554"/>
                </a:lnTo>
                <a:lnTo>
                  <a:pt x="513571" y="1957410"/>
                </a:lnTo>
                <a:lnTo>
                  <a:pt x="475446" y="1932843"/>
                </a:lnTo>
                <a:lnTo>
                  <a:pt x="438461" y="1906891"/>
                </a:lnTo>
                <a:lnTo>
                  <a:pt x="402659" y="1879596"/>
                </a:lnTo>
                <a:lnTo>
                  <a:pt x="368082" y="1850996"/>
                </a:lnTo>
                <a:lnTo>
                  <a:pt x="334775" y="1821132"/>
                </a:lnTo>
                <a:lnTo>
                  <a:pt x="302778" y="1790044"/>
                </a:lnTo>
                <a:lnTo>
                  <a:pt x="272136" y="1757772"/>
                </a:lnTo>
                <a:lnTo>
                  <a:pt x="242892" y="1724357"/>
                </a:lnTo>
                <a:lnTo>
                  <a:pt x="215087" y="1689837"/>
                </a:lnTo>
                <a:lnTo>
                  <a:pt x="188766" y="1654253"/>
                </a:lnTo>
                <a:lnTo>
                  <a:pt x="163970" y="1617646"/>
                </a:lnTo>
                <a:lnTo>
                  <a:pt x="140743" y="1580055"/>
                </a:lnTo>
                <a:lnTo>
                  <a:pt x="119128" y="1541520"/>
                </a:lnTo>
                <a:lnTo>
                  <a:pt x="99168" y="1502082"/>
                </a:lnTo>
                <a:lnTo>
                  <a:pt x="80905" y="1461779"/>
                </a:lnTo>
                <a:lnTo>
                  <a:pt x="64382" y="1420653"/>
                </a:lnTo>
                <a:lnTo>
                  <a:pt x="49643" y="1378744"/>
                </a:lnTo>
                <a:lnTo>
                  <a:pt x="36729" y="1336091"/>
                </a:lnTo>
                <a:lnTo>
                  <a:pt x="25685" y="1292734"/>
                </a:lnTo>
                <a:lnTo>
                  <a:pt x="16553" y="1248714"/>
                </a:lnTo>
                <a:lnTo>
                  <a:pt x="9375" y="1204071"/>
                </a:lnTo>
                <a:lnTo>
                  <a:pt x="4195" y="1158844"/>
                </a:lnTo>
                <a:lnTo>
                  <a:pt x="1056" y="1113073"/>
                </a:lnTo>
                <a:lnTo>
                  <a:pt x="0" y="1066800"/>
                </a:lnTo>
                <a:close/>
              </a:path>
            </a:pathLst>
          </a:custGeom>
          <a:ln w="88900">
            <a:solidFill>
              <a:srgbClr val="000080"/>
            </a:solidFill>
          </a:ln>
        </p:spPr>
        <p:txBody>
          <a:bodyPr wrap="square" lIns="0" tIns="0" rIns="0" bIns="0" rtlCol="0"/>
          <a:lstStyle/>
          <a:p>
            <a:endParaRPr/>
          </a:p>
        </p:txBody>
      </p:sp>
      <p:sp>
        <p:nvSpPr>
          <p:cNvPr id="20" name="object 20"/>
          <p:cNvSpPr/>
          <p:nvPr/>
        </p:nvSpPr>
        <p:spPr>
          <a:xfrm>
            <a:off x="862012" y="2784475"/>
            <a:ext cx="1177988" cy="620776"/>
          </a:xfrm>
          <a:prstGeom prst="rect">
            <a:avLst/>
          </a:prstGeom>
          <a:blipFill>
            <a:blip r:embed="rId6" cstate="print"/>
            <a:stretch>
              <a:fillRect/>
            </a:stretch>
          </a:blipFill>
        </p:spPr>
        <p:txBody>
          <a:bodyPr wrap="square" lIns="0" tIns="0" rIns="0" bIns="0" rtlCol="0"/>
          <a:lstStyle/>
          <a:p>
            <a:endParaRPr/>
          </a:p>
        </p:txBody>
      </p:sp>
      <p:sp>
        <p:nvSpPr>
          <p:cNvPr id="21" name="object 21"/>
          <p:cNvSpPr/>
          <p:nvPr/>
        </p:nvSpPr>
        <p:spPr>
          <a:xfrm>
            <a:off x="862012" y="2784475"/>
            <a:ext cx="1178560" cy="621030"/>
          </a:xfrm>
          <a:custGeom>
            <a:avLst/>
            <a:gdLst/>
            <a:ahLst/>
            <a:cxnLst/>
            <a:rect l="l" t="t" r="r" b="b"/>
            <a:pathLst>
              <a:path w="1178560" h="621029">
                <a:moveTo>
                  <a:pt x="0" y="310388"/>
                </a:moveTo>
                <a:lnTo>
                  <a:pt x="11965" y="247826"/>
                </a:lnTo>
                <a:lnTo>
                  <a:pt x="46283" y="189559"/>
                </a:lnTo>
                <a:lnTo>
                  <a:pt x="100586" y="136835"/>
                </a:lnTo>
                <a:lnTo>
                  <a:pt x="134491" y="112941"/>
                </a:lnTo>
                <a:lnTo>
                  <a:pt x="172504" y="90900"/>
                </a:lnTo>
                <a:lnTo>
                  <a:pt x="214328" y="70868"/>
                </a:lnTo>
                <a:lnTo>
                  <a:pt x="259669" y="53002"/>
                </a:lnTo>
                <a:lnTo>
                  <a:pt x="308229" y="37456"/>
                </a:lnTo>
                <a:lnTo>
                  <a:pt x="359712" y="24387"/>
                </a:lnTo>
                <a:lnTo>
                  <a:pt x="413824" y="13952"/>
                </a:lnTo>
                <a:lnTo>
                  <a:pt x="470266" y="6304"/>
                </a:lnTo>
                <a:lnTo>
                  <a:pt x="528744" y="1602"/>
                </a:lnTo>
                <a:lnTo>
                  <a:pt x="588962" y="0"/>
                </a:lnTo>
                <a:lnTo>
                  <a:pt x="649176" y="1602"/>
                </a:lnTo>
                <a:lnTo>
                  <a:pt x="707653" y="6304"/>
                </a:lnTo>
                <a:lnTo>
                  <a:pt x="764097" y="13952"/>
                </a:lnTo>
                <a:lnTo>
                  <a:pt x="818211" y="24387"/>
                </a:lnTo>
                <a:lnTo>
                  <a:pt x="869699" y="37456"/>
                </a:lnTo>
                <a:lnTo>
                  <a:pt x="918264" y="53002"/>
                </a:lnTo>
                <a:lnTo>
                  <a:pt x="963611" y="70868"/>
                </a:lnTo>
                <a:lnTo>
                  <a:pt x="1005443" y="90900"/>
                </a:lnTo>
                <a:lnTo>
                  <a:pt x="1043463" y="112941"/>
                </a:lnTo>
                <a:lnTo>
                  <a:pt x="1077375" y="136835"/>
                </a:lnTo>
                <a:lnTo>
                  <a:pt x="1106883" y="162426"/>
                </a:lnTo>
                <a:lnTo>
                  <a:pt x="1151501" y="218077"/>
                </a:lnTo>
                <a:lnTo>
                  <a:pt x="1174946" y="278648"/>
                </a:lnTo>
                <a:lnTo>
                  <a:pt x="1177988" y="310388"/>
                </a:lnTo>
                <a:lnTo>
                  <a:pt x="1174946" y="342106"/>
                </a:lnTo>
                <a:lnTo>
                  <a:pt x="1166018" y="372913"/>
                </a:lnTo>
                <a:lnTo>
                  <a:pt x="1131691" y="431163"/>
                </a:lnTo>
                <a:lnTo>
                  <a:pt x="1077375" y="483885"/>
                </a:lnTo>
                <a:lnTo>
                  <a:pt x="1043463" y="507782"/>
                </a:lnTo>
                <a:lnTo>
                  <a:pt x="1005443" y="529828"/>
                </a:lnTo>
                <a:lnTo>
                  <a:pt x="963611" y="549866"/>
                </a:lnTo>
                <a:lnTo>
                  <a:pt x="918264" y="567740"/>
                </a:lnTo>
                <a:lnTo>
                  <a:pt x="869699" y="583293"/>
                </a:lnTo>
                <a:lnTo>
                  <a:pt x="818211" y="596370"/>
                </a:lnTo>
                <a:lnTo>
                  <a:pt x="764097" y="606813"/>
                </a:lnTo>
                <a:lnTo>
                  <a:pt x="707653" y="614465"/>
                </a:lnTo>
                <a:lnTo>
                  <a:pt x="649176" y="619172"/>
                </a:lnTo>
                <a:lnTo>
                  <a:pt x="588962" y="620776"/>
                </a:lnTo>
                <a:lnTo>
                  <a:pt x="528744" y="619172"/>
                </a:lnTo>
                <a:lnTo>
                  <a:pt x="470266" y="614465"/>
                </a:lnTo>
                <a:lnTo>
                  <a:pt x="413824" y="606813"/>
                </a:lnTo>
                <a:lnTo>
                  <a:pt x="359712" y="596370"/>
                </a:lnTo>
                <a:lnTo>
                  <a:pt x="308229" y="583293"/>
                </a:lnTo>
                <a:lnTo>
                  <a:pt x="259669" y="567740"/>
                </a:lnTo>
                <a:lnTo>
                  <a:pt x="214328" y="549866"/>
                </a:lnTo>
                <a:lnTo>
                  <a:pt x="172504" y="529828"/>
                </a:lnTo>
                <a:lnTo>
                  <a:pt x="134491" y="507782"/>
                </a:lnTo>
                <a:lnTo>
                  <a:pt x="100586" y="483885"/>
                </a:lnTo>
                <a:lnTo>
                  <a:pt x="71085" y="458293"/>
                </a:lnTo>
                <a:lnTo>
                  <a:pt x="26478" y="402650"/>
                </a:lnTo>
                <a:lnTo>
                  <a:pt x="3040" y="342106"/>
                </a:lnTo>
                <a:lnTo>
                  <a:pt x="0" y="310388"/>
                </a:lnTo>
                <a:close/>
              </a:path>
            </a:pathLst>
          </a:custGeom>
          <a:ln w="12700">
            <a:solidFill>
              <a:srgbClr val="DBFFC8"/>
            </a:solidFill>
          </a:ln>
        </p:spPr>
        <p:txBody>
          <a:bodyPr wrap="square" lIns="0" tIns="0" rIns="0" bIns="0" rtlCol="0"/>
          <a:lstStyle/>
          <a:p>
            <a:endParaRPr/>
          </a:p>
        </p:txBody>
      </p:sp>
      <p:sp>
        <p:nvSpPr>
          <p:cNvPr id="22" name="object 22"/>
          <p:cNvSpPr txBox="1"/>
          <p:nvPr/>
        </p:nvSpPr>
        <p:spPr>
          <a:xfrm>
            <a:off x="1038860" y="2950717"/>
            <a:ext cx="826135" cy="286385"/>
          </a:xfrm>
          <a:prstGeom prst="rect">
            <a:avLst/>
          </a:prstGeom>
        </p:spPr>
        <p:txBody>
          <a:bodyPr vert="horz" wrap="square" lIns="0" tIns="0" rIns="0" bIns="0" rtlCol="0">
            <a:spAutoFit/>
          </a:bodyPr>
          <a:lstStyle/>
          <a:p>
            <a:pPr marL="12700">
              <a:lnSpc>
                <a:spcPct val="100000"/>
              </a:lnSpc>
            </a:pPr>
            <a:r>
              <a:rPr sz="1800" b="1" spc="-5" dirty="0">
                <a:latin typeface="Times New Roman"/>
                <a:cs typeface="Times New Roman"/>
              </a:rPr>
              <a:t>Division</a:t>
            </a:r>
            <a:endParaRPr sz="1800">
              <a:latin typeface="Times New Roman"/>
              <a:cs typeface="Times New Roman"/>
            </a:endParaRPr>
          </a:p>
        </p:txBody>
      </p:sp>
      <p:sp>
        <p:nvSpPr>
          <p:cNvPr id="23" name="object 23"/>
          <p:cNvSpPr/>
          <p:nvPr/>
        </p:nvSpPr>
        <p:spPr>
          <a:xfrm>
            <a:off x="582612" y="1676400"/>
            <a:ext cx="692213" cy="550926"/>
          </a:xfrm>
          <a:prstGeom prst="rect">
            <a:avLst/>
          </a:prstGeom>
          <a:blipFill>
            <a:blip r:embed="rId7" cstate="print"/>
            <a:stretch>
              <a:fillRect/>
            </a:stretch>
          </a:blipFill>
        </p:spPr>
        <p:txBody>
          <a:bodyPr wrap="square" lIns="0" tIns="0" rIns="0" bIns="0" rtlCol="0"/>
          <a:lstStyle/>
          <a:p>
            <a:endParaRPr/>
          </a:p>
        </p:txBody>
      </p:sp>
      <p:sp>
        <p:nvSpPr>
          <p:cNvPr id="24" name="object 24"/>
          <p:cNvSpPr/>
          <p:nvPr/>
        </p:nvSpPr>
        <p:spPr>
          <a:xfrm>
            <a:off x="582612" y="1676400"/>
            <a:ext cx="692785" cy="551180"/>
          </a:xfrm>
          <a:custGeom>
            <a:avLst/>
            <a:gdLst/>
            <a:ahLst/>
            <a:cxnLst/>
            <a:rect l="l" t="t" r="r" b="b"/>
            <a:pathLst>
              <a:path w="692785" h="551180">
                <a:moveTo>
                  <a:pt x="0" y="275463"/>
                </a:moveTo>
                <a:lnTo>
                  <a:pt x="3752" y="234754"/>
                </a:lnTo>
                <a:lnTo>
                  <a:pt x="14652" y="195901"/>
                </a:lnTo>
                <a:lnTo>
                  <a:pt x="32164" y="159329"/>
                </a:lnTo>
                <a:lnTo>
                  <a:pt x="55754" y="125465"/>
                </a:lnTo>
                <a:lnTo>
                  <a:pt x="84885" y="94734"/>
                </a:lnTo>
                <a:lnTo>
                  <a:pt x="119023" y="67562"/>
                </a:lnTo>
                <a:lnTo>
                  <a:pt x="157632" y="44375"/>
                </a:lnTo>
                <a:lnTo>
                  <a:pt x="200177" y="25600"/>
                </a:lnTo>
                <a:lnTo>
                  <a:pt x="246122" y="11661"/>
                </a:lnTo>
                <a:lnTo>
                  <a:pt x="294933" y="2986"/>
                </a:lnTo>
                <a:lnTo>
                  <a:pt x="346075" y="0"/>
                </a:lnTo>
                <a:lnTo>
                  <a:pt x="397217" y="2986"/>
                </a:lnTo>
                <a:lnTo>
                  <a:pt x="446032" y="11661"/>
                </a:lnTo>
                <a:lnTo>
                  <a:pt x="491984" y="25600"/>
                </a:lnTo>
                <a:lnTo>
                  <a:pt x="534536" y="44375"/>
                </a:lnTo>
                <a:lnTo>
                  <a:pt x="573154" y="67562"/>
                </a:lnTo>
                <a:lnTo>
                  <a:pt x="607300" y="94734"/>
                </a:lnTo>
                <a:lnTo>
                  <a:pt x="636440" y="125465"/>
                </a:lnTo>
                <a:lnTo>
                  <a:pt x="660037" y="159329"/>
                </a:lnTo>
                <a:lnTo>
                  <a:pt x="677555" y="195901"/>
                </a:lnTo>
                <a:lnTo>
                  <a:pt x="688459" y="234754"/>
                </a:lnTo>
                <a:lnTo>
                  <a:pt x="692213" y="275463"/>
                </a:lnTo>
                <a:lnTo>
                  <a:pt x="688459" y="316171"/>
                </a:lnTo>
                <a:lnTo>
                  <a:pt x="677555" y="355024"/>
                </a:lnTo>
                <a:lnTo>
                  <a:pt x="660037" y="391596"/>
                </a:lnTo>
                <a:lnTo>
                  <a:pt x="636440" y="425460"/>
                </a:lnTo>
                <a:lnTo>
                  <a:pt x="607300" y="456191"/>
                </a:lnTo>
                <a:lnTo>
                  <a:pt x="573154" y="483363"/>
                </a:lnTo>
                <a:lnTo>
                  <a:pt x="534536" y="506550"/>
                </a:lnTo>
                <a:lnTo>
                  <a:pt x="491984" y="525325"/>
                </a:lnTo>
                <a:lnTo>
                  <a:pt x="446032" y="539264"/>
                </a:lnTo>
                <a:lnTo>
                  <a:pt x="397217" y="547939"/>
                </a:lnTo>
                <a:lnTo>
                  <a:pt x="346075" y="550926"/>
                </a:lnTo>
                <a:lnTo>
                  <a:pt x="294933" y="547939"/>
                </a:lnTo>
                <a:lnTo>
                  <a:pt x="246122" y="539264"/>
                </a:lnTo>
                <a:lnTo>
                  <a:pt x="200177" y="525325"/>
                </a:lnTo>
                <a:lnTo>
                  <a:pt x="157632" y="506550"/>
                </a:lnTo>
                <a:lnTo>
                  <a:pt x="119023" y="483363"/>
                </a:lnTo>
                <a:lnTo>
                  <a:pt x="84885" y="456191"/>
                </a:lnTo>
                <a:lnTo>
                  <a:pt x="55754" y="425460"/>
                </a:lnTo>
                <a:lnTo>
                  <a:pt x="32164" y="391596"/>
                </a:lnTo>
                <a:lnTo>
                  <a:pt x="14652" y="355024"/>
                </a:lnTo>
                <a:lnTo>
                  <a:pt x="3752" y="316171"/>
                </a:lnTo>
                <a:lnTo>
                  <a:pt x="0" y="275463"/>
                </a:lnTo>
                <a:close/>
              </a:path>
            </a:pathLst>
          </a:custGeom>
          <a:ln w="12700">
            <a:solidFill>
              <a:srgbClr val="FFFF00"/>
            </a:solidFill>
          </a:ln>
        </p:spPr>
        <p:txBody>
          <a:bodyPr wrap="square" lIns="0" tIns="0" rIns="0" bIns="0" rtlCol="0"/>
          <a:lstStyle/>
          <a:p>
            <a:endParaRPr/>
          </a:p>
        </p:txBody>
      </p:sp>
      <p:sp>
        <p:nvSpPr>
          <p:cNvPr id="25" name="object 25"/>
          <p:cNvSpPr txBox="1"/>
          <p:nvPr/>
        </p:nvSpPr>
        <p:spPr>
          <a:xfrm>
            <a:off x="721563" y="1733296"/>
            <a:ext cx="413384" cy="438784"/>
          </a:xfrm>
          <a:prstGeom prst="rect">
            <a:avLst/>
          </a:prstGeom>
        </p:spPr>
        <p:txBody>
          <a:bodyPr vert="horz" wrap="square" lIns="0" tIns="0" rIns="0" bIns="0" rtlCol="0">
            <a:spAutoFit/>
          </a:bodyPr>
          <a:lstStyle/>
          <a:p>
            <a:pPr marL="53340" marR="5080" indent="-41275">
              <a:lnSpc>
                <a:spcPct val="100000"/>
              </a:lnSpc>
            </a:pPr>
            <a:r>
              <a:rPr sz="1400" b="1" dirty="0">
                <a:latin typeface="Times New Roman"/>
                <a:cs typeface="Times New Roman"/>
              </a:rPr>
              <a:t>Sales  </a:t>
            </a:r>
            <a:r>
              <a:rPr sz="1400" b="1" spc="-5" dirty="0">
                <a:latin typeface="Times New Roman"/>
                <a:cs typeface="Times New Roman"/>
              </a:rPr>
              <a:t>Org</a:t>
            </a:r>
            <a:endParaRPr sz="1400">
              <a:latin typeface="Times New Roman"/>
              <a:cs typeface="Times New Roman"/>
            </a:endParaRPr>
          </a:p>
        </p:txBody>
      </p:sp>
      <p:sp>
        <p:nvSpPr>
          <p:cNvPr id="26" name="object 26"/>
          <p:cNvSpPr/>
          <p:nvPr/>
        </p:nvSpPr>
        <p:spPr>
          <a:xfrm>
            <a:off x="1601850" y="1733550"/>
            <a:ext cx="692150" cy="550926"/>
          </a:xfrm>
          <a:prstGeom prst="rect">
            <a:avLst/>
          </a:prstGeom>
          <a:blipFill>
            <a:blip r:embed="rId8" cstate="print"/>
            <a:stretch>
              <a:fillRect/>
            </a:stretch>
          </a:blipFill>
        </p:spPr>
        <p:txBody>
          <a:bodyPr wrap="square" lIns="0" tIns="0" rIns="0" bIns="0" rtlCol="0"/>
          <a:lstStyle/>
          <a:p>
            <a:endParaRPr/>
          </a:p>
        </p:txBody>
      </p:sp>
      <p:sp>
        <p:nvSpPr>
          <p:cNvPr id="27" name="object 27"/>
          <p:cNvSpPr/>
          <p:nvPr/>
        </p:nvSpPr>
        <p:spPr>
          <a:xfrm>
            <a:off x="1601850" y="1733550"/>
            <a:ext cx="692150" cy="551180"/>
          </a:xfrm>
          <a:custGeom>
            <a:avLst/>
            <a:gdLst/>
            <a:ahLst/>
            <a:cxnLst/>
            <a:rect l="l" t="t" r="r" b="b"/>
            <a:pathLst>
              <a:path w="692150" h="551180">
                <a:moveTo>
                  <a:pt x="0" y="275463"/>
                </a:moveTo>
                <a:lnTo>
                  <a:pt x="3752" y="234754"/>
                </a:lnTo>
                <a:lnTo>
                  <a:pt x="14652" y="195901"/>
                </a:lnTo>
                <a:lnTo>
                  <a:pt x="32164" y="159329"/>
                </a:lnTo>
                <a:lnTo>
                  <a:pt x="55754" y="125465"/>
                </a:lnTo>
                <a:lnTo>
                  <a:pt x="84885" y="94734"/>
                </a:lnTo>
                <a:lnTo>
                  <a:pt x="119023" y="67562"/>
                </a:lnTo>
                <a:lnTo>
                  <a:pt x="157632" y="44375"/>
                </a:lnTo>
                <a:lnTo>
                  <a:pt x="200177" y="25600"/>
                </a:lnTo>
                <a:lnTo>
                  <a:pt x="246122" y="11661"/>
                </a:lnTo>
                <a:lnTo>
                  <a:pt x="294933" y="2986"/>
                </a:lnTo>
                <a:lnTo>
                  <a:pt x="346075" y="0"/>
                </a:lnTo>
                <a:lnTo>
                  <a:pt x="397187" y="2986"/>
                </a:lnTo>
                <a:lnTo>
                  <a:pt x="445980" y="11661"/>
                </a:lnTo>
                <a:lnTo>
                  <a:pt x="491917" y="25600"/>
                </a:lnTo>
                <a:lnTo>
                  <a:pt x="534461" y="44375"/>
                </a:lnTo>
                <a:lnTo>
                  <a:pt x="573075" y="67562"/>
                </a:lnTo>
                <a:lnTo>
                  <a:pt x="607221" y="94734"/>
                </a:lnTo>
                <a:lnTo>
                  <a:pt x="636363" y="125465"/>
                </a:lnTo>
                <a:lnTo>
                  <a:pt x="659964" y="159329"/>
                </a:lnTo>
                <a:lnTo>
                  <a:pt x="677487" y="195901"/>
                </a:lnTo>
                <a:lnTo>
                  <a:pt x="688394" y="234754"/>
                </a:lnTo>
                <a:lnTo>
                  <a:pt x="692150" y="275463"/>
                </a:lnTo>
                <a:lnTo>
                  <a:pt x="688394" y="316171"/>
                </a:lnTo>
                <a:lnTo>
                  <a:pt x="677487" y="355024"/>
                </a:lnTo>
                <a:lnTo>
                  <a:pt x="659964" y="391596"/>
                </a:lnTo>
                <a:lnTo>
                  <a:pt x="636363" y="425460"/>
                </a:lnTo>
                <a:lnTo>
                  <a:pt x="607221" y="456191"/>
                </a:lnTo>
                <a:lnTo>
                  <a:pt x="573075" y="483363"/>
                </a:lnTo>
                <a:lnTo>
                  <a:pt x="534461" y="506550"/>
                </a:lnTo>
                <a:lnTo>
                  <a:pt x="491917" y="525325"/>
                </a:lnTo>
                <a:lnTo>
                  <a:pt x="445980" y="539264"/>
                </a:lnTo>
                <a:lnTo>
                  <a:pt x="397187" y="547939"/>
                </a:lnTo>
                <a:lnTo>
                  <a:pt x="346075" y="550926"/>
                </a:lnTo>
                <a:lnTo>
                  <a:pt x="294933" y="547939"/>
                </a:lnTo>
                <a:lnTo>
                  <a:pt x="246122" y="539264"/>
                </a:lnTo>
                <a:lnTo>
                  <a:pt x="200177" y="525325"/>
                </a:lnTo>
                <a:lnTo>
                  <a:pt x="157632" y="506550"/>
                </a:lnTo>
                <a:lnTo>
                  <a:pt x="119023" y="483363"/>
                </a:lnTo>
                <a:lnTo>
                  <a:pt x="84885" y="456191"/>
                </a:lnTo>
                <a:lnTo>
                  <a:pt x="55754" y="425460"/>
                </a:lnTo>
                <a:lnTo>
                  <a:pt x="32164" y="391596"/>
                </a:lnTo>
                <a:lnTo>
                  <a:pt x="14652" y="355024"/>
                </a:lnTo>
                <a:lnTo>
                  <a:pt x="3752" y="316171"/>
                </a:lnTo>
                <a:lnTo>
                  <a:pt x="0" y="275463"/>
                </a:lnTo>
                <a:close/>
              </a:path>
            </a:pathLst>
          </a:custGeom>
          <a:ln w="12700">
            <a:solidFill>
              <a:srgbClr val="FFFF00"/>
            </a:solidFill>
          </a:ln>
        </p:spPr>
        <p:txBody>
          <a:bodyPr wrap="square" lIns="0" tIns="0" rIns="0" bIns="0" rtlCol="0"/>
          <a:lstStyle/>
          <a:p>
            <a:endParaRPr/>
          </a:p>
        </p:txBody>
      </p:sp>
      <p:sp>
        <p:nvSpPr>
          <p:cNvPr id="28" name="object 28"/>
          <p:cNvSpPr txBox="1"/>
          <p:nvPr/>
        </p:nvSpPr>
        <p:spPr>
          <a:xfrm>
            <a:off x="1740789" y="1790319"/>
            <a:ext cx="413384" cy="439420"/>
          </a:xfrm>
          <a:prstGeom prst="rect">
            <a:avLst/>
          </a:prstGeom>
        </p:spPr>
        <p:txBody>
          <a:bodyPr vert="horz" wrap="square" lIns="0" tIns="0" rIns="0" bIns="0" rtlCol="0">
            <a:spAutoFit/>
          </a:bodyPr>
          <a:lstStyle/>
          <a:p>
            <a:pPr marL="12700">
              <a:lnSpc>
                <a:spcPct val="100000"/>
              </a:lnSpc>
            </a:pPr>
            <a:r>
              <a:rPr sz="1400" b="1" dirty="0">
                <a:latin typeface="Times New Roman"/>
                <a:cs typeface="Times New Roman"/>
              </a:rPr>
              <a:t>Sales</a:t>
            </a:r>
            <a:endParaRPr sz="1400">
              <a:latin typeface="Times New Roman"/>
              <a:cs typeface="Times New Roman"/>
            </a:endParaRPr>
          </a:p>
          <a:p>
            <a:pPr marL="53340">
              <a:lnSpc>
                <a:spcPct val="100000"/>
              </a:lnSpc>
            </a:pPr>
            <a:r>
              <a:rPr sz="1400" b="1" dirty="0">
                <a:latin typeface="Times New Roman"/>
                <a:cs typeface="Times New Roman"/>
              </a:rPr>
              <a:t>Org</a:t>
            </a:r>
            <a:endParaRPr sz="1400">
              <a:latin typeface="Times New Roman"/>
              <a:cs typeface="Times New Roman"/>
            </a:endParaRPr>
          </a:p>
        </p:txBody>
      </p:sp>
      <p:sp>
        <p:nvSpPr>
          <p:cNvPr id="29" name="object 29"/>
          <p:cNvSpPr/>
          <p:nvPr/>
        </p:nvSpPr>
        <p:spPr>
          <a:xfrm>
            <a:off x="1708911" y="2266950"/>
            <a:ext cx="198120" cy="539115"/>
          </a:xfrm>
          <a:custGeom>
            <a:avLst/>
            <a:gdLst/>
            <a:ahLst/>
            <a:cxnLst/>
            <a:rect l="l" t="t" r="r" b="b"/>
            <a:pathLst>
              <a:path w="198119" h="539114">
                <a:moveTo>
                  <a:pt x="118415" y="113413"/>
                </a:moveTo>
                <a:lnTo>
                  <a:pt x="0" y="527685"/>
                </a:lnTo>
                <a:lnTo>
                  <a:pt x="39750" y="539114"/>
                </a:lnTo>
                <a:lnTo>
                  <a:pt x="158161" y="124739"/>
                </a:lnTo>
                <a:lnTo>
                  <a:pt x="118415" y="113413"/>
                </a:lnTo>
                <a:close/>
              </a:path>
              <a:path w="198119" h="539114">
                <a:moveTo>
                  <a:pt x="189778" y="93599"/>
                </a:moveTo>
                <a:lnTo>
                  <a:pt x="124079" y="93599"/>
                </a:lnTo>
                <a:lnTo>
                  <a:pt x="163830" y="104901"/>
                </a:lnTo>
                <a:lnTo>
                  <a:pt x="158161" y="124739"/>
                </a:lnTo>
                <a:lnTo>
                  <a:pt x="197738" y="136016"/>
                </a:lnTo>
                <a:lnTo>
                  <a:pt x="189778" y="93599"/>
                </a:lnTo>
                <a:close/>
              </a:path>
              <a:path w="198119" h="539114">
                <a:moveTo>
                  <a:pt x="124079" y="93599"/>
                </a:moveTo>
                <a:lnTo>
                  <a:pt x="118415" y="113413"/>
                </a:lnTo>
                <a:lnTo>
                  <a:pt x="158161" y="124739"/>
                </a:lnTo>
                <a:lnTo>
                  <a:pt x="163830" y="104901"/>
                </a:lnTo>
                <a:lnTo>
                  <a:pt x="124079" y="93599"/>
                </a:lnTo>
                <a:close/>
              </a:path>
              <a:path w="198119" h="539114">
                <a:moveTo>
                  <a:pt x="172212" y="0"/>
                </a:moveTo>
                <a:lnTo>
                  <a:pt x="78739" y="102108"/>
                </a:lnTo>
                <a:lnTo>
                  <a:pt x="118415" y="113413"/>
                </a:lnTo>
                <a:lnTo>
                  <a:pt x="124079" y="93599"/>
                </a:lnTo>
                <a:lnTo>
                  <a:pt x="189778" y="93599"/>
                </a:lnTo>
                <a:lnTo>
                  <a:pt x="172212" y="0"/>
                </a:lnTo>
                <a:close/>
              </a:path>
            </a:pathLst>
          </a:custGeom>
          <a:solidFill>
            <a:srgbClr val="000080"/>
          </a:solidFill>
        </p:spPr>
        <p:txBody>
          <a:bodyPr wrap="square" lIns="0" tIns="0" rIns="0" bIns="0" rtlCol="0"/>
          <a:lstStyle/>
          <a:p>
            <a:endParaRPr/>
          </a:p>
        </p:txBody>
      </p:sp>
      <p:sp>
        <p:nvSpPr>
          <p:cNvPr id="30" name="object 30"/>
          <p:cNvSpPr/>
          <p:nvPr/>
        </p:nvSpPr>
        <p:spPr>
          <a:xfrm>
            <a:off x="951039" y="2204973"/>
            <a:ext cx="202565" cy="614680"/>
          </a:xfrm>
          <a:custGeom>
            <a:avLst/>
            <a:gdLst/>
            <a:ahLst/>
            <a:cxnLst/>
            <a:rect l="l" t="t" r="r" b="b"/>
            <a:pathLst>
              <a:path w="202565" h="614680">
                <a:moveTo>
                  <a:pt x="80097" y="115186"/>
                </a:moveTo>
                <a:lnTo>
                  <a:pt x="40054" y="125219"/>
                </a:lnTo>
                <a:lnTo>
                  <a:pt x="162407" y="614679"/>
                </a:lnTo>
                <a:lnTo>
                  <a:pt x="202450" y="604647"/>
                </a:lnTo>
                <a:lnTo>
                  <a:pt x="80097" y="115186"/>
                </a:lnTo>
                <a:close/>
              </a:path>
              <a:path w="202565" h="614680">
                <a:moveTo>
                  <a:pt x="30035" y="0"/>
                </a:moveTo>
                <a:lnTo>
                  <a:pt x="0" y="135254"/>
                </a:lnTo>
                <a:lnTo>
                  <a:pt x="40054" y="125219"/>
                </a:lnTo>
                <a:lnTo>
                  <a:pt x="35039" y="105155"/>
                </a:lnTo>
                <a:lnTo>
                  <a:pt x="75082" y="95123"/>
                </a:lnTo>
                <a:lnTo>
                  <a:pt x="111533" y="95123"/>
                </a:lnTo>
                <a:lnTo>
                  <a:pt x="30035" y="0"/>
                </a:lnTo>
                <a:close/>
              </a:path>
              <a:path w="202565" h="614680">
                <a:moveTo>
                  <a:pt x="75082" y="95123"/>
                </a:moveTo>
                <a:lnTo>
                  <a:pt x="35039" y="105155"/>
                </a:lnTo>
                <a:lnTo>
                  <a:pt x="40054" y="125219"/>
                </a:lnTo>
                <a:lnTo>
                  <a:pt x="80097" y="115186"/>
                </a:lnTo>
                <a:lnTo>
                  <a:pt x="75082" y="95123"/>
                </a:lnTo>
                <a:close/>
              </a:path>
              <a:path w="202565" h="614680">
                <a:moveTo>
                  <a:pt x="111533" y="95123"/>
                </a:moveTo>
                <a:lnTo>
                  <a:pt x="75082" y="95123"/>
                </a:lnTo>
                <a:lnTo>
                  <a:pt x="80097" y="115186"/>
                </a:lnTo>
                <a:lnTo>
                  <a:pt x="120129" y="105155"/>
                </a:lnTo>
                <a:lnTo>
                  <a:pt x="111533" y="95123"/>
                </a:lnTo>
                <a:close/>
              </a:path>
            </a:pathLst>
          </a:custGeom>
          <a:solidFill>
            <a:srgbClr val="000080"/>
          </a:solidFill>
        </p:spPr>
        <p:txBody>
          <a:bodyPr wrap="square" lIns="0" tIns="0" rIns="0" bIns="0" rtlCol="0"/>
          <a:lstStyle/>
          <a:p>
            <a:endParaRPr/>
          </a:p>
        </p:txBody>
      </p:sp>
      <p:sp>
        <p:nvSpPr>
          <p:cNvPr id="31" name="object 31"/>
          <p:cNvSpPr/>
          <p:nvPr/>
        </p:nvSpPr>
        <p:spPr>
          <a:xfrm>
            <a:off x="5105400" y="1143000"/>
            <a:ext cx="3714750" cy="4419600"/>
          </a:xfrm>
          <a:prstGeom prst="rect">
            <a:avLst/>
          </a:prstGeom>
          <a:blipFill>
            <a:blip r:embed="rId9" cstate="print"/>
            <a:stretch>
              <a:fillRect/>
            </a:stretch>
          </a:blipFill>
        </p:spPr>
        <p:txBody>
          <a:bodyPr wrap="square" lIns="0" tIns="0" rIns="0" bIns="0" rtlCol="0"/>
          <a:lstStyle/>
          <a:p>
            <a:endParaRPr/>
          </a:p>
        </p:txBody>
      </p:sp>
      <p:sp>
        <p:nvSpPr>
          <p:cNvPr id="32" name="object 32"/>
          <p:cNvSpPr/>
          <p:nvPr/>
        </p:nvSpPr>
        <p:spPr>
          <a:xfrm>
            <a:off x="5091048" y="1128649"/>
            <a:ext cx="3743325" cy="4448175"/>
          </a:xfrm>
          <a:custGeom>
            <a:avLst/>
            <a:gdLst/>
            <a:ahLst/>
            <a:cxnLst/>
            <a:rect l="l" t="t" r="r" b="b"/>
            <a:pathLst>
              <a:path w="3743325" h="4448175">
                <a:moveTo>
                  <a:pt x="0" y="4448175"/>
                </a:moveTo>
                <a:lnTo>
                  <a:pt x="3743325" y="4448175"/>
                </a:lnTo>
                <a:lnTo>
                  <a:pt x="3743325" y="0"/>
                </a:lnTo>
                <a:lnTo>
                  <a:pt x="0" y="0"/>
                </a:lnTo>
                <a:lnTo>
                  <a:pt x="0" y="4448175"/>
                </a:lnTo>
                <a:close/>
              </a:path>
            </a:pathLst>
          </a:custGeom>
          <a:ln w="28575">
            <a:solidFill>
              <a:srgbClr val="000000"/>
            </a:solidFill>
          </a:ln>
        </p:spPr>
        <p:txBody>
          <a:bodyPr wrap="square" lIns="0" tIns="0" rIns="0" bIns="0" rtlCol="0"/>
          <a:lstStyle/>
          <a:p>
            <a:endParaRPr/>
          </a:p>
        </p:txBody>
      </p:sp>
      <p:sp>
        <p:nvSpPr>
          <p:cNvPr id="33" name="object 33"/>
          <p:cNvSpPr txBox="1"/>
          <p:nvPr/>
        </p:nvSpPr>
        <p:spPr>
          <a:xfrm>
            <a:off x="459740" y="4033646"/>
            <a:ext cx="4134485" cy="1015663"/>
          </a:xfrm>
          <a:prstGeom prst="rect">
            <a:avLst/>
          </a:prstGeom>
        </p:spPr>
        <p:txBody>
          <a:bodyPr vert="horz" wrap="square" lIns="0" tIns="0" rIns="0" bIns="0" rtlCol="0">
            <a:spAutoFit/>
          </a:bodyPr>
          <a:lstStyle/>
          <a:p>
            <a:pPr marL="12700" marR="5080">
              <a:lnSpc>
                <a:spcPct val="100000"/>
              </a:lnSpc>
            </a:pPr>
            <a:r>
              <a:rPr sz="2200" dirty="0">
                <a:latin typeface="Arial"/>
                <a:cs typeface="Arial"/>
              </a:rPr>
              <a:t>A </a:t>
            </a:r>
            <a:r>
              <a:rPr sz="2200" spc="-5" dirty="0">
                <a:latin typeface="Arial"/>
                <a:cs typeface="Arial"/>
              </a:rPr>
              <a:t>Division </a:t>
            </a:r>
            <a:r>
              <a:rPr sz="2200" dirty="0">
                <a:latin typeface="Arial"/>
                <a:cs typeface="Arial"/>
              </a:rPr>
              <a:t>can be assigned to</a:t>
            </a:r>
            <a:r>
              <a:rPr sz="2200" spc="-180" dirty="0">
                <a:latin typeface="Arial"/>
                <a:cs typeface="Arial"/>
              </a:rPr>
              <a:t> </a:t>
            </a:r>
            <a:r>
              <a:rPr sz="2200" dirty="0">
                <a:latin typeface="Arial"/>
                <a:cs typeface="Arial"/>
              </a:rPr>
              <a:t>one  or many Sales Organizations and  </a:t>
            </a:r>
            <a:r>
              <a:rPr sz="2200" spc="-5" dirty="0">
                <a:latin typeface="Arial"/>
                <a:cs typeface="Arial"/>
              </a:rPr>
              <a:t>visa</a:t>
            </a:r>
            <a:r>
              <a:rPr sz="2200" spc="-95" dirty="0">
                <a:latin typeface="Arial"/>
                <a:cs typeface="Arial"/>
              </a:rPr>
              <a:t> </a:t>
            </a:r>
            <a:r>
              <a:rPr sz="2200" spc="-5" dirty="0">
                <a:latin typeface="Arial"/>
                <a:cs typeface="Arial"/>
              </a:rPr>
              <a:t>versa</a:t>
            </a:r>
            <a:endParaRPr sz="2200" dirty="0">
              <a:latin typeface="Arial"/>
              <a:cs typeface="Arial"/>
            </a:endParaRPr>
          </a:p>
        </p:txBody>
      </p:sp>
      <p:sp>
        <p:nvSpPr>
          <p:cNvPr id="34" name="object 34"/>
          <p:cNvSpPr txBox="1"/>
          <p:nvPr/>
        </p:nvSpPr>
        <p:spPr>
          <a:xfrm>
            <a:off x="383540" y="5770168"/>
            <a:ext cx="8117840" cy="285115"/>
          </a:xfrm>
          <a:prstGeom prst="rect">
            <a:avLst/>
          </a:prstGeom>
        </p:spPr>
        <p:txBody>
          <a:bodyPr vert="horz" wrap="square" lIns="0" tIns="0" rIns="0" bIns="0" rtlCol="0">
            <a:spAutoFit/>
          </a:bodyPr>
          <a:lstStyle/>
          <a:p>
            <a:pPr marL="12700">
              <a:lnSpc>
                <a:spcPct val="100000"/>
              </a:lnSpc>
            </a:pPr>
            <a:r>
              <a:rPr sz="1800" b="1" spc="-5" dirty="0">
                <a:latin typeface="Arial"/>
                <a:cs typeface="Arial"/>
              </a:rPr>
              <a:t>Display </a:t>
            </a:r>
            <a:r>
              <a:rPr sz="1800" b="1" dirty="0">
                <a:latin typeface="Arial"/>
                <a:cs typeface="Arial"/>
              </a:rPr>
              <a:t>IMG</a:t>
            </a:r>
            <a:r>
              <a:rPr sz="1800" b="1" dirty="0">
                <a:latin typeface="Wingdings"/>
                <a:cs typeface="Wingdings"/>
              </a:rPr>
              <a:t></a:t>
            </a:r>
            <a:r>
              <a:rPr sz="1800" b="1" dirty="0">
                <a:latin typeface="Times New Roman"/>
                <a:cs typeface="Times New Roman"/>
              </a:rPr>
              <a:t> </a:t>
            </a:r>
            <a:r>
              <a:rPr sz="1800" b="1" spc="-5" dirty="0">
                <a:latin typeface="Arial"/>
                <a:cs typeface="Arial"/>
              </a:rPr>
              <a:t>Enterprise Structure</a:t>
            </a:r>
            <a:r>
              <a:rPr sz="1800" b="1" spc="-5" dirty="0">
                <a:latin typeface="Wingdings"/>
                <a:cs typeface="Wingdings"/>
              </a:rPr>
              <a:t></a:t>
            </a:r>
            <a:r>
              <a:rPr sz="1800" b="1" spc="-5" dirty="0">
                <a:latin typeface="Times New Roman"/>
                <a:cs typeface="Times New Roman"/>
              </a:rPr>
              <a:t> </a:t>
            </a:r>
            <a:r>
              <a:rPr sz="1800" b="1" spc="-5" dirty="0">
                <a:latin typeface="Arial"/>
                <a:cs typeface="Arial"/>
              </a:rPr>
              <a:t>Assignment </a:t>
            </a:r>
            <a:r>
              <a:rPr sz="1800" b="1" spc="-5" dirty="0">
                <a:latin typeface="Wingdings"/>
                <a:cs typeface="Wingdings"/>
              </a:rPr>
              <a:t></a:t>
            </a:r>
            <a:r>
              <a:rPr sz="1800" b="1" spc="-5" dirty="0">
                <a:latin typeface="Arial"/>
                <a:cs typeface="Arial"/>
              </a:rPr>
              <a:t>Sales </a:t>
            </a:r>
            <a:r>
              <a:rPr sz="1800" b="1" dirty="0">
                <a:latin typeface="Arial"/>
                <a:cs typeface="Arial"/>
              </a:rPr>
              <a:t>and</a:t>
            </a:r>
            <a:r>
              <a:rPr sz="1800" b="1" spc="110" dirty="0">
                <a:latin typeface="Arial"/>
                <a:cs typeface="Arial"/>
              </a:rPr>
              <a:t> </a:t>
            </a:r>
            <a:r>
              <a:rPr sz="1800" b="1" dirty="0">
                <a:latin typeface="Arial"/>
                <a:cs typeface="Arial"/>
              </a:rPr>
              <a:t>Distribution</a:t>
            </a:r>
            <a:endParaRPr sz="1800" dirty="0">
              <a:latin typeface="Arial"/>
              <a:cs typeface="Arial"/>
            </a:endParaRPr>
          </a:p>
        </p:txBody>
      </p:sp>
      <p:sp>
        <p:nvSpPr>
          <p:cNvPr id="36" name="object 36"/>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31</a:t>
            </a:fld>
            <a:endParaRPr sz="1200">
              <a:latin typeface="Symbol"/>
              <a:cs typeface="Symbol"/>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p:nvPr/>
        </p:nvSpPr>
        <p:spPr>
          <a:xfrm>
            <a:off x="4760976" y="260604"/>
            <a:ext cx="886968" cy="897636"/>
          </a:xfrm>
          <a:prstGeom prst="rect">
            <a:avLst/>
          </a:prstGeom>
          <a:blipFill>
            <a:blip r:embed="rId2" cstate="print"/>
            <a:stretch>
              <a:fillRect/>
            </a:stretch>
          </a:blipFill>
        </p:spPr>
        <p:txBody>
          <a:bodyPr wrap="square" lIns="0" tIns="0" rIns="0" bIns="0" rtlCol="0"/>
          <a:lstStyle/>
          <a:p>
            <a:endParaRPr/>
          </a:p>
        </p:txBody>
      </p:sp>
      <p:sp>
        <p:nvSpPr>
          <p:cNvPr id="6" name="object 6"/>
          <p:cNvSpPr txBox="1">
            <a:spLocks noGrp="1"/>
          </p:cNvSpPr>
          <p:nvPr>
            <p:ph type="title"/>
          </p:nvPr>
        </p:nvSpPr>
        <p:spPr>
          <a:prstGeom prst="rect">
            <a:avLst/>
          </a:prstGeom>
        </p:spPr>
        <p:txBody>
          <a:bodyPr vert="horz" wrap="square" lIns="0" tIns="0" rIns="0" bIns="0" rtlCol="0">
            <a:spAutoFit/>
          </a:bodyPr>
          <a:lstStyle/>
          <a:p>
            <a:pPr>
              <a:lnSpc>
                <a:spcPct val="100000"/>
              </a:lnSpc>
            </a:pPr>
            <a:r>
              <a:rPr dirty="0"/>
              <a:t>Set-up Sales Area</a:t>
            </a:r>
          </a:p>
        </p:txBody>
      </p:sp>
      <p:sp>
        <p:nvSpPr>
          <p:cNvPr id="7" name="object 7"/>
          <p:cNvSpPr txBox="1"/>
          <p:nvPr/>
        </p:nvSpPr>
        <p:spPr>
          <a:xfrm>
            <a:off x="383540" y="1466977"/>
            <a:ext cx="8261984" cy="5455340"/>
          </a:xfrm>
          <a:prstGeom prst="rect">
            <a:avLst/>
          </a:prstGeom>
        </p:spPr>
        <p:txBody>
          <a:bodyPr vert="horz" wrap="square" lIns="0" tIns="0" rIns="0" bIns="0" rtlCol="0">
            <a:spAutoFit/>
          </a:bodyPr>
          <a:lstStyle/>
          <a:p>
            <a:pPr marL="4490085" marR="283845" indent="-285750">
              <a:lnSpc>
                <a:spcPct val="100000"/>
              </a:lnSpc>
              <a:buClr>
                <a:srgbClr val="00B0F0"/>
              </a:buClr>
              <a:buFont typeface="Wingdings" panose="05000000000000000000" pitchFamily="2" charset="2"/>
              <a:buChar char="§"/>
              <a:tabLst>
                <a:tab pos="4346575" algn="l"/>
              </a:tabLst>
            </a:pPr>
            <a:r>
              <a:rPr sz="2200" spc="-5" dirty="0">
                <a:latin typeface="Arial"/>
                <a:cs typeface="Arial"/>
              </a:rPr>
              <a:t>Sales </a:t>
            </a:r>
            <a:r>
              <a:rPr sz="2200" spc="-15" dirty="0">
                <a:latin typeface="Arial"/>
                <a:cs typeface="Arial"/>
              </a:rPr>
              <a:t>Area </a:t>
            </a:r>
            <a:r>
              <a:rPr sz="2200" spc="-5" dirty="0">
                <a:latin typeface="Arial"/>
                <a:cs typeface="Arial"/>
              </a:rPr>
              <a:t>is </a:t>
            </a:r>
            <a:r>
              <a:rPr sz="2200" dirty="0">
                <a:latin typeface="Arial"/>
                <a:cs typeface="Arial"/>
              </a:rPr>
              <a:t>the </a:t>
            </a:r>
            <a:r>
              <a:rPr sz="2200" spc="-5" dirty="0">
                <a:latin typeface="Arial"/>
                <a:cs typeface="Arial"/>
              </a:rPr>
              <a:t>set-up </a:t>
            </a:r>
            <a:r>
              <a:rPr sz="2200" dirty="0">
                <a:latin typeface="Arial"/>
                <a:cs typeface="Arial"/>
              </a:rPr>
              <a:t>that  combines </a:t>
            </a:r>
            <a:r>
              <a:rPr sz="2200" spc="-5" dirty="0">
                <a:latin typeface="Arial"/>
                <a:cs typeface="Arial"/>
              </a:rPr>
              <a:t>sales organisation,  </a:t>
            </a:r>
            <a:r>
              <a:rPr sz="2200" dirty="0">
                <a:latin typeface="Arial"/>
                <a:cs typeface="Arial"/>
              </a:rPr>
              <a:t>distributional </a:t>
            </a:r>
            <a:r>
              <a:rPr sz="2200" spc="-5" dirty="0">
                <a:latin typeface="Arial"/>
                <a:cs typeface="Arial"/>
              </a:rPr>
              <a:t>channel </a:t>
            </a:r>
            <a:r>
              <a:rPr sz="2200" dirty="0">
                <a:latin typeface="Arial"/>
                <a:cs typeface="Arial"/>
              </a:rPr>
              <a:t>and</a:t>
            </a:r>
            <a:r>
              <a:rPr sz="2200" spc="-100" dirty="0">
                <a:latin typeface="Arial"/>
                <a:cs typeface="Arial"/>
              </a:rPr>
              <a:t> </a:t>
            </a:r>
            <a:r>
              <a:rPr sz="2200" spc="-5" dirty="0" smtClean="0">
                <a:latin typeface="Arial"/>
                <a:cs typeface="Arial"/>
              </a:rPr>
              <a:t>division</a:t>
            </a:r>
            <a:endParaRPr lang="en-US" sz="2200" spc="-5" dirty="0" smtClean="0">
              <a:latin typeface="Arial"/>
              <a:cs typeface="Arial"/>
            </a:endParaRPr>
          </a:p>
          <a:p>
            <a:pPr marL="4204335" marR="283845">
              <a:lnSpc>
                <a:spcPct val="100000"/>
              </a:lnSpc>
              <a:buClr>
                <a:srgbClr val="00B0F0"/>
              </a:buClr>
              <a:tabLst>
                <a:tab pos="4346575" algn="l"/>
              </a:tabLst>
            </a:pPr>
            <a:endParaRPr sz="2200" dirty="0">
              <a:latin typeface="Times New Roman"/>
              <a:cs typeface="Times New Roman"/>
            </a:endParaRPr>
          </a:p>
          <a:p>
            <a:pPr marL="4490085" indent="-285750">
              <a:lnSpc>
                <a:spcPct val="100000"/>
              </a:lnSpc>
              <a:buClr>
                <a:srgbClr val="00B0F0"/>
              </a:buClr>
              <a:buFont typeface="Wingdings" panose="05000000000000000000" pitchFamily="2" charset="2"/>
              <a:buChar char="§"/>
              <a:tabLst>
                <a:tab pos="4346575" algn="l"/>
              </a:tabLst>
            </a:pPr>
            <a:r>
              <a:rPr sz="2200" spc="-5" dirty="0">
                <a:latin typeface="Arial"/>
                <a:cs typeface="Arial"/>
              </a:rPr>
              <a:t>By setting </a:t>
            </a:r>
            <a:r>
              <a:rPr sz="2200" dirty="0">
                <a:latin typeface="Arial"/>
                <a:cs typeface="Arial"/>
              </a:rPr>
              <a:t>up </a:t>
            </a:r>
            <a:r>
              <a:rPr sz="2200" spc="-5" dirty="0">
                <a:latin typeface="Arial"/>
                <a:cs typeface="Arial"/>
              </a:rPr>
              <a:t>Sales</a:t>
            </a:r>
            <a:r>
              <a:rPr sz="2200" spc="-85" dirty="0">
                <a:latin typeface="Arial"/>
                <a:cs typeface="Arial"/>
              </a:rPr>
              <a:t> </a:t>
            </a:r>
            <a:r>
              <a:rPr sz="2200" spc="-15" dirty="0">
                <a:latin typeface="Arial"/>
                <a:cs typeface="Arial"/>
              </a:rPr>
              <a:t>Area:</a:t>
            </a:r>
            <a:endParaRPr sz="2200" dirty="0">
              <a:latin typeface="Arial"/>
              <a:cs typeface="Arial"/>
            </a:endParaRPr>
          </a:p>
          <a:p>
            <a:pPr marL="342900" indent="-342900">
              <a:lnSpc>
                <a:spcPct val="100000"/>
              </a:lnSpc>
              <a:spcBef>
                <a:spcPts val="30"/>
              </a:spcBef>
              <a:buClr>
                <a:srgbClr val="00B0F0"/>
              </a:buClr>
              <a:buFont typeface="Wingdings" panose="05000000000000000000" pitchFamily="2" charset="2"/>
              <a:buChar char="§"/>
            </a:pPr>
            <a:endParaRPr sz="1850" dirty="0">
              <a:latin typeface="Times New Roman"/>
              <a:cs typeface="Times New Roman"/>
            </a:endParaRPr>
          </a:p>
          <a:p>
            <a:pPr marL="4947285" marR="218440" lvl="1" indent="-285750">
              <a:buClr>
                <a:srgbClr val="C00000"/>
              </a:buClr>
              <a:buFont typeface="Wingdings" panose="05000000000000000000" pitchFamily="2" charset="2"/>
              <a:buChar char="§"/>
            </a:pPr>
            <a:r>
              <a:rPr spc="-45" dirty="0">
                <a:latin typeface="Arial"/>
                <a:cs typeface="Arial"/>
              </a:rPr>
              <a:t>You </a:t>
            </a:r>
            <a:r>
              <a:rPr spc="-5" dirty="0">
                <a:latin typeface="Arial"/>
                <a:cs typeface="Arial"/>
              </a:rPr>
              <a:t>can </a:t>
            </a:r>
            <a:r>
              <a:rPr dirty="0">
                <a:latin typeface="Arial"/>
                <a:cs typeface="Arial"/>
              </a:rPr>
              <a:t>define </a:t>
            </a:r>
            <a:r>
              <a:rPr spc="-5" dirty="0">
                <a:latin typeface="Arial"/>
                <a:cs typeface="Arial"/>
              </a:rPr>
              <a:t>materials </a:t>
            </a:r>
            <a:r>
              <a:rPr dirty="0">
                <a:latin typeface="Arial"/>
                <a:cs typeface="Arial"/>
              </a:rPr>
              <a:t>belonging  to </a:t>
            </a:r>
            <a:r>
              <a:rPr spc="5" dirty="0">
                <a:latin typeface="Arial"/>
                <a:cs typeface="Arial"/>
              </a:rPr>
              <a:t>which </a:t>
            </a:r>
            <a:r>
              <a:rPr spc="-5" dirty="0">
                <a:latin typeface="Arial"/>
                <a:cs typeface="Arial"/>
              </a:rPr>
              <a:t>divisions can be </a:t>
            </a:r>
            <a:r>
              <a:rPr dirty="0">
                <a:latin typeface="Arial"/>
                <a:cs typeface="Arial"/>
              </a:rPr>
              <a:t>sold  thorough </a:t>
            </a:r>
            <a:r>
              <a:rPr spc="-5" dirty="0">
                <a:latin typeface="Arial"/>
                <a:cs typeface="Arial"/>
              </a:rPr>
              <a:t>specific </a:t>
            </a:r>
            <a:r>
              <a:rPr dirty="0">
                <a:latin typeface="Arial"/>
                <a:cs typeface="Arial"/>
              </a:rPr>
              <a:t>Distribution  </a:t>
            </a:r>
            <a:r>
              <a:rPr spc="-5" dirty="0">
                <a:latin typeface="Arial"/>
                <a:cs typeface="Arial"/>
              </a:rPr>
              <a:t>Channels such </a:t>
            </a:r>
            <a:r>
              <a:rPr spc="-10" dirty="0">
                <a:latin typeface="Arial"/>
                <a:cs typeface="Arial"/>
              </a:rPr>
              <a:t>as </a:t>
            </a:r>
            <a:r>
              <a:rPr dirty="0">
                <a:latin typeface="Arial"/>
                <a:cs typeface="Arial"/>
              </a:rPr>
              <a:t>Whole-sale </a:t>
            </a:r>
            <a:r>
              <a:rPr spc="-5" dirty="0">
                <a:latin typeface="Arial"/>
                <a:cs typeface="Arial"/>
              </a:rPr>
              <a:t>or  </a:t>
            </a:r>
            <a:r>
              <a:rPr spc="-5" dirty="0" smtClean="0">
                <a:latin typeface="Arial"/>
                <a:cs typeface="Arial"/>
              </a:rPr>
              <a:t>Retail</a:t>
            </a:r>
            <a:endParaRPr dirty="0">
              <a:latin typeface="Arial"/>
              <a:cs typeface="Arial"/>
            </a:endParaRPr>
          </a:p>
          <a:p>
            <a:pPr marL="342900" indent="-342900">
              <a:lnSpc>
                <a:spcPct val="100000"/>
              </a:lnSpc>
              <a:spcBef>
                <a:spcPts val="30"/>
              </a:spcBef>
              <a:buClr>
                <a:srgbClr val="C00000"/>
              </a:buClr>
              <a:buFont typeface="Wingdings" panose="05000000000000000000" pitchFamily="2" charset="2"/>
              <a:buChar char="§"/>
            </a:pPr>
            <a:endParaRPr dirty="0">
              <a:latin typeface="Times New Roman"/>
              <a:cs typeface="Times New Roman"/>
            </a:endParaRPr>
          </a:p>
          <a:p>
            <a:pPr marL="4947285" lvl="1" indent="-285750">
              <a:spcBef>
                <a:spcPts val="5"/>
              </a:spcBef>
              <a:buClr>
                <a:srgbClr val="C00000"/>
              </a:buClr>
              <a:buFont typeface="Wingdings" panose="05000000000000000000" pitchFamily="2" charset="2"/>
              <a:buChar char="§"/>
            </a:pPr>
            <a:r>
              <a:rPr spc="-45" dirty="0">
                <a:latin typeface="Arial"/>
                <a:cs typeface="Arial"/>
              </a:rPr>
              <a:t>You </a:t>
            </a:r>
            <a:r>
              <a:rPr spc="-10" dirty="0">
                <a:latin typeface="Arial"/>
                <a:cs typeface="Arial"/>
              </a:rPr>
              <a:t>can </a:t>
            </a:r>
            <a:r>
              <a:rPr spc="-5" dirty="0">
                <a:latin typeface="Arial"/>
                <a:cs typeface="Arial"/>
              </a:rPr>
              <a:t>control specific</a:t>
            </a:r>
            <a:r>
              <a:rPr spc="45" dirty="0">
                <a:latin typeface="Arial"/>
                <a:cs typeface="Arial"/>
              </a:rPr>
              <a:t> </a:t>
            </a:r>
            <a:r>
              <a:rPr spc="-5" dirty="0" smtClean="0">
                <a:latin typeface="Arial"/>
                <a:cs typeface="Arial"/>
              </a:rPr>
              <a:t>transactions</a:t>
            </a:r>
            <a:r>
              <a:rPr lang="en-US" spc="-5" dirty="0" smtClean="0">
                <a:latin typeface="Arial"/>
                <a:cs typeface="Arial"/>
              </a:rPr>
              <a:t> </a:t>
            </a:r>
            <a:r>
              <a:rPr spc="-5" dirty="0" smtClean="0">
                <a:latin typeface="Arial"/>
                <a:cs typeface="Arial"/>
              </a:rPr>
              <a:t>based </a:t>
            </a:r>
            <a:r>
              <a:rPr dirty="0">
                <a:latin typeface="Arial"/>
                <a:cs typeface="Arial"/>
              </a:rPr>
              <a:t>on </a:t>
            </a:r>
            <a:r>
              <a:rPr spc="5" dirty="0">
                <a:latin typeface="Arial"/>
                <a:cs typeface="Arial"/>
              </a:rPr>
              <a:t>allowed </a:t>
            </a:r>
            <a:r>
              <a:rPr spc="-5" dirty="0">
                <a:latin typeface="Arial"/>
                <a:cs typeface="Arial"/>
              </a:rPr>
              <a:t>document</a:t>
            </a:r>
            <a:r>
              <a:rPr spc="-80" dirty="0">
                <a:latin typeface="Arial"/>
                <a:cs typeface="Arial"/>
              </a:rPr>
              <a:t> </a:t>
            </a:r>
            <a:r>
              <a:rPr spc="-10" dirty="0" smtClean="0">
                <a:latin typeface="Arial"/>
                <a:cs typeface="Arial"/>
              </a:rPr>
              <a:t>types</a:t>
            </a:r>
            <a:endParaRPr dirty="0">
              <a:latin typeface="Arial"/>
              <a:cs typeface="Arial"/>
            </a:endParaRPr>
          </a:p>
          <a:p>
            <a:pPr>
              <a:lnSpc>
                <a:spcPct val="100000"/>
              </a:lnSpc>
            </a:pPr>
            <a:endParaRPr sz="1800" dirty="0">
              <a:latin typeface="Times New Roman"/>
              <a:cs typeface="Times New Roman"/>
            </a:endParaRPr>
          </a:p>
          <a:p>
            <a:pPr>
              <a:lnSpc>
                <a:spcPct val="100000"/>
              </a:lnSpc>
              <a:spcBef>
                <a:spcPts val="5"/>
              </a:spcBef>
            </a:pPr>
            <a:endParaRPr sz="2400" dirty="0">
              <a:latin typeface="Times New Roman"/>
              <a:cs typeface="Times New Roman"/>
            </a:endParaRPr>
          </a:p>
        </p:txBody>
      </p:sp>
      <p:sp>
        <p:nvSpPr>
          <p:cNvPr id="8" name="object 8"/>
          <p:cNvSpPr/>
          <p:nvPr/>
        </p:nvSpPr>
        <p:spPr>
          <a:xfrm>
            <a:off x="304800" y="1200150"/>
            <a:ext cx="3886200" cy="4514850"/>
          </a:xfrm>
          <a:prstGeom prst="rect">
            <a:avLst/>
          </a:prstGeom>
          <a:blipFill>
            <a:blip r:embed="rId3" cstate="print"/>
            <a:stretch>
              <a:fillRect/>
            </a:stretch>
          </a:blipFill>
        </p:spPr>
        <p:txBody>
          <a:bodyPr wrap="square" lIns="0" tIns="0" rIns="0" bIns="0" rtlCol="0"/>
          <a:lstStyle/>
          <a:p>
            <a:endParaRPr/>
          </a:p>
        </p:txBody>
      </p:sp>
      <p:sp>
        <p:nvSpPr>
          <p:cNvPr id="9" name="object 9"/>
          <p:cNvSpPr/>
          <p:nvPr/>
        </p:nvSpPr>
        <p:spPr>
          <a:xfrm>
            <a:off x="290512" y="1185862"/>
            <a:ext cx="3914775" cy="4543425"/>
          </a:xfrm>
          <a:custGeom>
            <a:avLst/>
            <a:gdLst/>
            <a:ahLst/>
            <a:cxnLst/>
            <a:rect l="l" t="t" r="r" b="b"/>
            <a:pathLst>
              <a:path w="3914775" h="4543425">
                <a:moveTo>
                  <a:pt x="0" y="4543425"/>
                </a:moveTo>
                <a:lnTo>
                  <a:pt x="3914775" y="4543425"/>
                </a:lnTo>
                <a:lnTo>
                  <a:pt x="3914775" y="0"/>
                </a:lnTo>
                <a:lnTo>
                  <a:pt x="0" y="0"/>
                </a:lnTo>
                <a:lnTo>
                  <a:pt x="0" y="4543425"/>
                </a:lnTo>
                <a:close/>
              </a:path>
            </a:pathLst>
          </a:custGeom>
          <a:ln w="28575">
            <a:solidFill>
              <a:srgbClr val="000000"/>
            </a:solidFill>
          </a:ln>
        </p:spPr>
        <p:txBody>
          <a:bodyPr wrap="square" lIns="0" tIns="0" rIns="0" bIns="0" rtlCol="0"/>
          <a:lstStyle/>
          <a:p>
            <a:endParaRPr/>
          </a:p>
        </p:txBody>
      </p:sp>
      <p:sp>
        <p:nvSpPr>
          <p:cNvPr id="11" name="object 11"/>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32</a:t>
            </a:fld>
            <a:endParaRPr sz="1200">
              <a:latin typeface="Symbol"/>
              <a:cs typeface="Symbol"/>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6"/>
          <p:cNvSpPr txBox="1">
            <a:spLocks noGrp="1"/>
          </p:cNvSpPr>
          <p:nvPr>
            <p:ph type="title"/>
          </p:nvPr>
        </p:nvSpPr>
        <p:spPr>
          <a:prstGeom prst="rect">
            <a:avLst/>
          </a:prstGeom>
        </p:spPr>
        <p:txBody>
          <a:bodyPr vert="horz" wrap="square" lIns="0" tIns="0" rIns="0" bIns="0" rtlCol="0">
            <a:spAutoFit/>
          </a:bodyPr>
          <a:lstStyle/>
          <a:p>
            <a:pPr>
              <a:lnSpc>
                <a:spcPct val="100000"/>
              </a:lnSpc>
            </a:pPr>
            <a:r>
              <a:rPr dirty="0"/>
              <a:t>Set-up Sales Area</a:t>
            </a:r>
          </a:p>
        </p:txBody>
      </p:sp>
      <p:sp>
        <p:nvSpPr>
          <p:cNvPr id="5" name="Rectangle 4"/>
          <p:cNvSpPr/>
          <p:nvPr/>
        </p:nvSpPr>
        <p:spPr>
          <a:xfrm>
            <a:off x="533400" y="2133600"/>
            <a:ext cx="8001000" cy="646331"/>
          </a:xfrm>
          <a:prstGeom prst="rect">
            <a:avLst/>
          </a:prstGeom>
        </p:spPr>
        <p:txBody>
          <a:bodyPr wrap="square">
            <a:spAutoFit/>
          </a:bodyPr>
          <a:lstStyle/>
          <a:p>
            <a:pPr marL="12700">
              <a:lnSpc>
                <a:spcPct val="100000"/>
              </a:lnSpc>
            </a:pPr>
            <a:r>
              <a:rPr lang="en-US" b="1" spc="-5" dirty="0">
                <a:latin typeface="Arial"/>
                <a:cs typeface="Arial"/>
              </a:rPr>
              <a:t>Display </a:t>
            </a:r>
            <a:r>
              <a:rPr lang="en-US" b="1" dirty="0">
                <a:latin typeface="Arial"/>
                <a:cs typeface="Arial"/>
              </a:rPr>
              <a:t>IMG</a:t>
            </a:r>
            <a:r>
              <a:rPr lang="en-US" b="1" dirty="0">
                <a:latin typeface="Wingdings"/>
                <a:cs typeface="Wingdings"/>
              </a:rPr>
              <a:t></a:t>
            </a:r>
            <a:r>
              <a:rPr lang="en-US" b="1" dirty="0">
                <a:latin typeface="Times New Roman"/>
                <a:cs typeface="Times New Roman"/>
              </a:rPr>
              <a:t> </a:t>
            </a:r>
            <a:r>
              <a:rPr lang="en-US" b="1" spc="-5" dirty="0">
                <a:latin typeface="Arial"/>
                <a:cs typeface="Arial"/>
              </a:rPr>
              <a:t>Enterprise Structure</a:t>
            </a:r>
            <a:r>
              <a:rPr lang="en-US" b="1" spc="-5" dirty="0">
                <a:latin typeface="Wingdings"/>
                <a:cs typeface="Wingdings"/>
              </a:rPr>
              <a:t></a:t>
            </a:r>
            <a:r>
              <a:rPr lang="en-US" b="1" spc="-5" dirty="0">
                <a:latin typeface="Times New Roman"/>
                <a:cs typeface="Times New Roman"/>
              </a:rPr>
              <a:t> </a:t>
            </a:r>
            <a:r>
              <a:rPr lang="en-US" b="1" spc="-5" dirty="0">
                <a:latin typeface="Arial"/>
                <a:cs typeface="Arial"/>
              </a:rPr>
              <a:t>Assignment </a:t>
            </a:r>
            <a:r>
              <a:rPr lang="en-US" b="1" spc="-5" dirty="0">
                <a:latin typeface="Wingdings"/>
                <a:cs typeface="Wingdings"/>
              </a:rPr>
              <a:t></a:t>
            </a:r>
            <a:r>
              <a:rPr lang="en-US" b="1" spc="-5" dirty="0">
                <a:latin typeface="Arial"/>
                <a:cs typeface="Arial"/>
              </a:rPr>
              <a:t>Sales </a:t>
            </a:r>
            <a:r>
              <a:rPr lang="en-US" b="1" dirty="0">
                <a:latin typeface="Arial"/>
                <a:cs typeface="Arial"/>
              </a:rPr>
              <a:t>and</a:t>
            </a:r>
            <a:r>
              <a:rPr lang="en-US" b="1" spc="110" dirty="0">
                <a:latin typeface="Arial"/>
                <a:cs typeface="Arial"/>
              </a:rPr>
              <a:t> </a:t>
            </a:r>
            <a:r>
              <a:rPr lang="en-US" b="1" dirty="0">
                <a:latin typeface="Arial"/>
                <a:cs typeface="Arial"/>
              </a:rPr>
              <a:t>Distribution</a:t>
            </a:r>
            <a:endParaRPr lang="en-US" dirty="0">
              <a:latin typeface="Arial"/>
              <a:cs typeface="Arial"/>
            </a:endParaRPr>
          </a:p>
        </p:txBody>
      </p:sp>
    </p:spTree>
    <p:extLst>
      <p:ext uri="{BB962C8B-B14F-4D97-AF65-F5344CB8AC3E}">
        <p14:creationId xmlns:p14="http://schemas.microsoft.com/office/powerpoint/2010/main" xmlns="" val="359800914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8138159" y="274320"/>
            <a:ext cx="809244" cy="819912"/>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152400" y="152400"/>
            <a:ext cx="9144000" cy="492443"/>
          </a:xfrm>
          <a:prstGeom prst="rect">
            <a:avLst/>
          </a:prstGeom>
        </p:spPr>
        <p:txBody>
          <a:bodyPr vert="horz" wrap="square" lIns="0" tIns="0" rIns="0" bIns="0" rtlCol="0">
            <a:spAutoFit/>
          </a:bodyPr>
          <a:lstStyle/>
          <a:p>
            <a:r>
              <a:rPr dirty="0"/>
              <a:t>Sales Organization &amp; Master Data</a:t>
            </a:r>
          </a:p>
        </p:txBody>
      </p:sp>
      <p:sp>
        <p:nvSpPr>
          <p:cNvPr id="5" name="object 5"/>
          <p:cNvSpPr txBox="1"/>
          <p:nvPr/>
        </p:nvSpPr>
        <p:spPr>
          <a:xfrm>
            <a:off x="381000" y="1447800"/>
            <a:ext cx="8480425" cy="2759730"/>
          </a:xfrm>
          <a:prstGeom prst="rect">
            <a:avLst/>
          </a:prstGeom>
        </p:spPr>
        <p:txBody>
          <a:bodyPr vert="horz" wrap="square" lIns="0" tIns="0" rIns="0" bIns="0" rtlCol="0">
            <a:spAutoFit/>
          </a:bodyPr>
          <a:lstStyle/>
          <a:p>
            <a:pPr marL="355600" marR="289560" indent="-342900">
              <a:lnSpc>
                <a:spcPct val="100000"/>
              </a:lnSpc>
              <a:buClr>
                <a:srgbClr val="00B0F0"/>
              </a:buClr>
              <a:buFont typeface="Wingdings" panose="05000000000000000000" pitchFamily="2" charset="2"/>
              <a:buChar char="§"/>
              <a:tabLst>
                <a:tab pos="354965" algn="l"/>
                <a:tab pos="355600" algn="l"/>
              </a:tabLst>
            </a:pPr>
            <a:r>
              <a:rPr sz="2200" spc="-5" dirty="0">
                <a:latin typeface="Arial"/>
                <a:cs typeface="Arial"/>
              </a:rPr>
              <a:t>Sales </a:t>
            </a:r>
            <a:r>
              <a:rPr sz="2200" dirty="0">
                <a:latin typeface="Arial"/>
                <a:cs typeface="Arial"/>
              </a:rPr>
              <a:t>Organization Controls </a:t>
            </a:r>
            <a:r>
              <a:rPr sz="2200" spc="-5" dirty="0">
                <a:latin typeface="Arial"/>
                <a:cs typeface="Arial"/>
              </a:rPr>
              <a:t>Master Data Creation, </a:t>
            </a:r>
            <a:r>
              <a:rPr sz="2200" spc="5" dirty="0">
                <a:latin typeface="Arial"/>
                <a:cs typeface="Arial"/>
              </a:rPr>
              <a:t>where </a:t>
            </a:r>
            <a:r>
              <a:rPr sz="2200" spc="-5" dirty="0">
                <a:latin typeface="Arial"/>
                <a:cs typeface="Arial"/>
              </a:rPr>
              <a:t>Common  </a:t>
            </a:r>
            <a:r>
              <a:rPr sz="2200" dirty="0">
                <a:latin typeface="Arial"/>
                <a:cs typeface="Arial"/>
              </a:rPr>
              <a:t>Distribution </a:t>
            </a:r>
            <a:r>
              <a:rPr sz="2200" spc="-5" dirty="0">
                <a:latin typeface="Arial"/>
                <a:cs typeface="Arial"/>
              </a:rPr>
              <a:t>Channel </a:t>
            </a:r>
            <a:r>
              <a:rPr sz="2200" dirty="0">
                <a:latin typeface="Arial"/>
                <a:cs typeface="Arial"/>
              </a:rPr>
              <a:t>and </a:t>
            </a:r>
            <a:r>
              <a:rPr sz="2200" spc="-5" dirty="0">
                <a:latin typeface="Arial"/>
                <a:cs typeface="Arial"/>
              </a:rPr>
              <a:t>Common </a:t>
            </a:r>
            <a:r>
              <a:rPr sz="2200" spc="-10" dirty="0">
                <a:latin typeface="Arial"/>
                <a:cs typeface="Arial"/>
              </a:rPr>
              <a:t>Division </a:t>
            </a:r>
            <a:r>
              <a:rPr sz="2200" dirty="0">
                <a:latin typeface="Arial"/>
                <a:cs typeface="Arial"/>
              </a:rPr>
              <a:t>is combined </a:t>
            </a:r>
            <a:r>
              <a:rPr sz="2200" spc="10" dirty="0">
                <a:latin typeface="Arial"/>
                <a:cs typeface="Arial"/>
              </a:rPr>
              <a:t>with </a:t>
            </a:r>
            <a:r>
              <a:rPr sz="2200" spc="-10" dirty="0">
                <a:latin typeface="Arial"/>
                <a:cs typeface="Arial"/>
              </a:rPr>
              <a:t>respective  </a:t>
            </a:r>
            <a:r>
              <a:rPr sz="2200" spc="-5" dirty="0">
                <a:latin typeface="Arial"/>
                <a:cs typeface="Arial"/>
              </a:rPr>
              <a:t>Sales </a:t>
            </a:r>
            <a:r>
              <a:rPr sz="2200" dirty="0">
                <a:latin typeface="Arial"/>
                <a:cs typeface="Arial"/>
              </a:rPr>
              <a:t>Organization to </a:t>
            </a:r>
            <a:r>
              <a:rPr sz="2200" spc="-5" dirty="0">
                <a:latin typeface="Arial"/>
                <a:cs typeface="Arial"/>
              </a:rPr>
              <a:t>reduce master data creation</a:t>
            </a:r>
            <a:r>
              <a:rPr sz="2200" spc="10" dirty="0">
                <a:latin typeface="Arial"/>
                <a:cs typeface="Arial"/>
              </a:rPr>
              <a:t> </a:t>
            </a:r>
            <a:r>
              <a:rPr sz="2200" spc="5" dirty="0" smtClean="0">
                <a:latin typeface="Arial"/>
                <a:cs typeface="Arial"/>
              </a:rPr>
              <a:t>work</a:t>
            </a:r>
            <a:endParaRPr sz="2200" dirty="0">
              <a:latin typeface="Arial"/>
              <a:cs typeface="Arial"/>
            </a:endParaRPr>
          </a:p>
          <a:p>
            <a:pPr marL="355600" marR="5080" indent="-342900">
              <a:lnSpc>
                <a:spcPct val="100000"/>
              </a:lnSpc>
              <a:spcBef>
                <a:spcPts val="430"/>
              </a:spcBef>
              <a:buClr>
                <a:srgbClr val="00B0F0"/>
              </a:buClr>
              <a:buFont typeface="Wingdings" panose="05000000000000000000" pitchFamily="2" charset="2"/>
              <a:buChar char="§"/>
              <a:tabLst>
                <a:tab pos="354965" algn="l"/>
                <a:tab pos="355600" algn="l"/>
                <a:tab pos="4327525" algn="l"/>
              </a:tabLst>
            </a:pPr>
            <a:r>
              <a:rPr sz="2200" dirty="0">
                <a:latin typeface="Arial"/>
                <a:cs typeface="Arial"/>
              </a:rPr>
              <a:t>In </a:t>
            </a:r>
            <a:r>
              <a:rPr sz="2200" spc="-5" dirty="0">
                <a:latin typeface="Arial"/>
                <a:cs typeface="Arial"/>
              </a:rPr>
              <a:t>such a </a:t>
            </a:r>
            <a:r>
              <a:rPr sz="2200" spc="-10" dirty="0">
                <a:latin typeface="Arial"/>
                <a:cs typeface="Arial"/>
              </a:rPr>
              <a:t>case </a:t>
            </a:r>
            <a:r>
              <a:rPr sz="2200" dirty="0">
                <a:latin typeface="Arial"/>
                <a:cs typeface="Arial"/>
              </a:rPr>
              <a:t>Condition </a:t>
            </a:r>
            <a:r>
              <a:rPr sz="2200" spc="-5" dirty="0">
                <a:latin typeface="Arial"/>
                <a:cs typeface="Arial"/>
              </a:rPr>
              <a:t>Master records, Customer Master Records </a:t>
            </a:r>
            <a:r>
              <a:rPr sz="2200" dirty="0">
                <a:latin typeface="Arial"/>
                <a:cs typeface="Arial"/>
              </a:rPr>
              <a:t>and  </a:t>
            </a:r>
            <a:r>
              <a:rPr sz="2200" spc="-5" dirty="0">
                <a:latin typeface="Arial"/>
                <a:cs typeface="Arial"/>
              </a:rPr>
              <a:t>Material Master records</a:t>
            </a:r>
            <a:r>
              <a:rPr sz="2200" spc="55" dirty="0">
                <a:latin typeface="Arial"/>
                <a:cs typeface="Arial"/>
              </a:rPr>
              <a:t> </a:t>
            </a:r>
            <a:r>
              <a:rPr sz="2200" spc="-5" dirty="0">
                <a:latin typeface="Arial"/>
                <a:cs typeface="Arial"/>
              </a:rPr>
              <a:t>are</a:t>
            </a:r>
            <a:r>
              <a:rPr sz="2200" spc="15" dirty="0">
                <a:latin typeface="Arial"/>
                <a:cs typeface="Arial"/>
              </a:rPr>
              <a:t> </a:t>
            </a:r>
            <a:r>
              <a:rPr sz="2200" spc="-5" dirty="0" smtClean="0">
                <a:latin typeface="Arial"/>
                <a:cs typeface="Arial"/>
              </a:rPr>
              <a:t>created</a:t>
            </a:r>
            <a:r>
              <a:rPr lang="en-US" sz="2200" spc="-5" dirty="0" smtClean="0">
                <a:latin typeface="Arial"/>
                <a:cs typeface="Arial"/>
              </a:rPr>
              <a:t> </a:t>
            </a:r>
            <a:r>
              <a:rPr sz="2200" dirty="0" smtClean="0">
                <a:latin typeface="Arial"/>
                <a:cs typeface="Arial"/>
              </a:rPr>
              <a:t>only </a:t>
            </a:r>
            <a:r>
              <a:rPr sz="2200" dirty="0">
                <a:latin typeface="Arial"/>
                <a:cs typeface="Arial"/>
              </a:rPr>
              <a:t>once for one </a:t>
            </a:r>
            <a:r>
              <a:rPr sz="2200" spc="-5" dirty="0">
                <a:latin typeface="Arial"/>
                <a:cs typeface="Arial"/>
              </a:rPr>
              <a:t>sales area</a:t>
            </a:r>
            <a:r>
              <a:rPr sz="2200" spc="-65" dirty="0">
                <a:latin typeface="Arial"/>
                <a:cs typeface="Arial"/>
              </a:rPr>
              <a:t> </a:t>
            </a:r>
            <a:r>
              <a:rPr sz="2200" dirty="0">
                <a:latin typeface="Arial"/>
                <a:cs typeface="Arial"/>
              </a:rPr>
              <a:t>and</a:t>
            </a:r>
            <a:r>
              <a:rPr sz="2200" spc="-10" dirty="0">
                <a:latin typeface="Arial"/>
                <a:cs typeface="Arial"/>
              </a:rPr>
              <a:t> </a:t>
            </a:r>
            <a:r>
              <a:rPr sz="2200" spc="-5" dirty="0">
                <a:latin typeface="Arial"/>
                <a:cs typeface="Arial"/>
              </a:rPr>
              <a:t>need </a:t>
            </a:r>
            <a:r>
              <a:rPr sz="2200" dirty="0">
                <a:latin typeface="Arial"/>
                <a:cs typeface="Arial"/>
              </a:rPr>
              <a:t> not </a:t>
            </a:r>
            <a:r>
              <a:rPr sz="2200" spc="-5" dirty="0">
                <a:latin typeface="Arial"/>
                <a:cs typeface="Arial"/>
              </a:rPr>
              <a:t>be extended </a:t>
            </a:r>
            <a:r>
              <a:rPr sz="2200" dirty="0">
                <a:latin typeface="Arial"/>
                <a:cs typeface="Arial"/>
              </a:rPr>
              <a:t>to </a:t>
            </a:r>
            <a:r>
              <a:rPr sz="2200" spc="-10" dirty="0">
                <a:latin typeface="Arial"/>
                <a:cs typeface="Arial"/>
              </a:rPr>
              <a:t>each </a:t>
            </a:r>
            <a:r>
              <a:rPr sz="2200" dirty="0">
                <a:latin typeface="Arial"/>
                <a:cs typeface="Arial"/>
              </a:rPr>
              <a:t>and </a:t>
            </a:r>
            <a:r>
              <a:rPr sz="2200" spc="-10" dirty="0">
                <a:latin typeface="Arial"/>
                <a:cs typeface="Arial"/>
              </a:rPr>
              <a:t>every </a:t>
            </a:r>
            <a:r>
              <a:rPr sz="2200" spc="-5" dirty="0">
                <a:latin typeface="Arial"/>
                <a:cs typeface="Arial"/>
              </a:rPr>
              <a:t>sales</a:t>
            </a:r>
            <a:r>
              <a:rPr sz="2200" spc="45" dirty="0">
                <a:latin typeface="Arial"/>
                <a:cs typeface="Arial"/>
              </a:rPr>
              <a:t> </a:t>
            </a:r>
            <a:r>
              <a:rPr sz="2200" spc="-5" dirty="0" smtClean="0">
                <a:latin typeface="Arial"/>
                <a:cs typeface="Arial"/>
              </a:rPr>
              <a:t>area</a:t>
            </a:r>
            <a:endParaRPr sz="2200" dirty="0">
              <a:latin typeface="Arial"/>
              <a:cs typeface="Arial"/>
            </a:endParaRPr>
          </a:p>
        </p:txBody>
      </p:sp>
      <p:sp>
        <p:nvSpPr>
          <p:cNvPr id="12" name="object 12"/>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34</a:t>
            </a:fld>
            <a:endParaRPr sz="1200">
              <a:latin typeface="Symbol"/>
              <a:cs typeface="Symbol"/>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les Organization &amp; Master Data</a:t>
            </a:r>
          </a:p>
        </p:txBody>
      </p:sp>
      <p:sp>
        <p:nvSpPr>
          <p:cNvPr id="4" name="object 6"/>
          <p:cNvSpPr/>
          <p:nvPr/>
        </p:nvSpPr>
        <p:spPr>
          <a:xfrm>
            <a:off x="304800" y="1524000"/>
            <a:ext cx="4286534" cy="3657600"/>
          </a:xfrm>
          <a:prstGeom prst="rect">
            <a:avLst/>
          </a:prstGeom>
          <a:blipFill>
            <a:blip r:embed="rId2" cstate="print"/>
            <a:stretch>
              <a:fillRect/>
            </a:stretch>
          </a:blipFill>
        </p:spPr>
        <p:txBody>
          <a:bodyPr wrap="square" lIns="0" tIns="0" rIns="0" bIns="0" rtlCol="0"/>
          <a:lstStyle/>
          <a:p>
            <a:endParaRPr/>
          </a:p>
        </p:txBody>
      </p:sp>
      <p:sp>
        <p:nvSpPr>
          <p:cNvPr id="5" name="object 8"/>
          <p:cNvSpPr/>
          <p:nvPr/>
        </p:nvSpPr>
        <p:spPr>
          <a:xfrm>
            <a:off x="4709615" y="1545608"/>
            <a:ext cx="4205785" cy="3635991"/>
          </a:xfrm>
          <a:prstGeom prst="rect">
            <a:avLst/>
          </a:prstGeom>
          <a:blipFill>
            <a:blip r:embed="rId3" cstate="print"/>
            <a:stretch>
              <a:fillRect/>
            </a:stretch>
          </a:blipFill>
        </p:spPr>
        <p:txBody>
          <a:bodyPr wrap="square" lIns="0" tIns="0" rIns="0" bIns="0" rtlCol="0"/>
          <a:lstStyle/>
          <a:p>
            <a:endParaRPr/>
          </a:p>
        </p:txBody>
      </p:sp>
      <p:sp>
        <p:nvSpPr>
          <p:cNvPr id="6" name="object 10"/>
          <p:cNvSpPr txBox="1"/>
          <p:nvPr/>
        </p:nvSpPr>
        <p:spPr>
          <a:xfrm>
            <a:off x="457200" y="5562600"/>
            <a:ext cx="5677535" cy="285115"/>
          </a:xfrm>
          <a:prstGeom prst="rect">
            <a:avLst/>
          </a:prstGeom>
        </p:spPr>
        <p:txBody>
          <a:bodyPr vert="horz" wrap="square" lIns="0" tIns="0" rIns="0" bIns="0" rtlCol="0">
            <a:spAutoFit/>
          </a:bodyPr>
          <a:lstStyle/>
          <a:p>
            <a:pPr marL="12700">
              <a:lnSpc>
                <a:spcPct val="100000"/>
              </a:lnSpc>
            </a:pPr>
            <a:r>
              <a:rPr sz="1800" b="1" spc="-5" dirty="0">
                <a:latin typeface="Arial"/>
                <a:cs typeface="Arial"/>
              </a:rPr>
              <a:t>Display </a:t>
            </a:r>
            <a:r>
              <a:rPr sz="1800" b="1" dirty="0">
                <a:latin typeface="Arial"/>
                <a:cs typeface="Arial"/>
              </a:rPr>
              <a:t>IMG</a:t>
            </a:r>
            <a:r>
              <a:rPr sz="1800" b="1" dirty="0">
                <a:latin typeface="Wingdings"/>
                <a:cs typeface="Wingdings"/>
              </a:rPr>
              <a:t></a:t>
            </a:r>
            <a:r>
              <a:rPr sz="1800" b="1" dirty="0">
                <a:latin typeface="Times New Roman"/>
                <a:cs typeface="Times New Roman"/>
              </a:rPr>
              <a:t> </a:t>
            </a:r>
            <a:r>
              <a:rPr sz="1800" b="1" spc="-5" dirty="0">
                <a:latin typeface="Arial"/>
                <a:cs typeface="Arial"/>
              </a:rPr>
              <a:t>Sales </a:t>
            </a:r>
            <a:r>
              <a:rPr sz="1800" b="1" dirty="0">
                <a:latin typeface="Arial"/>
                <a:cs typeface="Arial"/>
              </a:rPr>
              <a:t>and Distribution </a:t>
            </a:r>
            <a:r>
              <a:rPr sz="1800" b="1" spc="-5" dirty="0">
                <a:latin typeface="Wingdings"/>
                <a:cs typeface="Wingdings"/>
              </a:rPr>
              <a:t></a:t>
            </a:r>
            <a:r>
              <a:rPr sz="1800" b="1" spc="-5" dirty="0">
                <a:latin typeface="Times New Roman"/>
                <a:cs typeface="Times New Roman"/>
              </a:rPr>
              <a:t> </a:t>
            </a:r>
            <a:r>
              <a:rPr sz="1800" b="1" spc="-5" dirty="0">
                <a:latin typeface="Arial"/>
                <a:cs typeface="Arial"/>
              </a:rPr>
              <a:t>Master</a:t>
            </a:r>
            <a:r>
              <a:rPr sz="1800" b="1" spc="65" dirty="0">
                <a:latin typeface="Arial"/>
                <a:cs typeface="Arial"/>
              </a:rPr>
              <a:t> </a:t>
            </a:r>
            <a:r>
              <a:rPr sz="1800" b="1" spc="-5" dirty="0">
                <a:latin typeface="Arial"/>
                <a:cs typeface="Arial"/>
              </a:rPr>
              <a:t>Data</a:t>
            </a:r>
            <a:endParaRPr sz="1800" dirty="0">
              <a:latin typeface="Arial"/>
              <a:cs typeface="Arial"/>
            </a:endParaRPr>
          </a:p>
        </p:txBody>
      </p:sp>
      <p:sp>
        <p:nvSpPr>
          <p:cNvPr id="7" name="object 7"/>
          <p:cNvSpPr/>
          <p:nvPr/>
        </p:nvSpPr>
        <p:spPr>
          <a:xfrm>
            <a:off x="311657" y="1527972"/>
            <a:ext cx="4279677" cy="3653627"/>
          </a:xfrm>
          <a:custGeom>
            <a:avLst/>
            <a:gdLst/>
            <a:ahLst/>
            <a:cxnLst/>
            <a:rect l="l" t="t" r="r" b="b"/>
            <a:pathLst>
              <a:path w="3990975" h="2891154">
                <a:moveTo>
                  <a:pt x="0" y="2890774"/>
                </a:moveTo>
                <a:lnTo>
                  <a:pt x="3990975" y="2890774"/>
                </a:lnTo>
                <a:lnTo>
                  <a:pt x="3990975" y="0"/>
                </a:lnTo>
                <a:lnTo>
                  <a:pt x="0" y="0"/>
                </a:lnTo>
                <a:lnTo>
                  <a:pt x="0" y="2890774"/>
                </a:lnTo>
                <a:close/>
              </a:path>
            </a:pathLst>
          </a:custGeom>
          <a:ln w="28575">
            <a:solidFill>
              <a:srgbClr val="000000"/>
            </a:solidFill>
          </a:ln>
        </p:spPr>
        <p:txBody>
          <a:bodyPr wrap="square" lIns="0" tIns="0" rIns="0" bIns="0" rtlCol="0"/>
          <a:lstStyle/>
          <a:p>
            <a:endParaRPr/>
          </a:p>
        </p:txBody>
      </p:sp>
      <p:sp>
        <p:nvSpPr>
          <p:cNvPr id="8" name="object 9"/>
          <p:cNvSpPr/>
          <p:nvPr/>
        </p:nvSpPr>
        <p:spPr>
          <a:xfrm>
            <a:off x="4709615" y="1523999"/>
            <a:ext cx="4205785" cy="3657599"/>
          </a:xfrm>
          <a:custGeom>
            <a:avLst/>
            <a:gdLst/>
            <a:ahLst/>
            <a:cxnLst/>
            <a:rect l="l" t="t" r="r" b="b"/>
            <a:pathLst>
              <a:path w="3914775" h="2903854">
                <a:moveTo>
                  <a:pt x="0" y="2903474"/>
                </a:moveTo>
                <a:lnTo>
                  <a:pt x="3914775" y="2903474"/>
                </a:lnTo>
                <a:lnTo>
                  <a:pt x="3914775" y="0"/>
                </a:lnTo>
                <a:lnTo>
                  <a:pt x="0" y="0"/>
                </a:lnTo>
                <a:lnTo>
                  <a:pt x="0" y="2903474"/>
                </a:lnTo>
                <a:close/>
              </a:path>
            </a:pathLst>
          </a:custGeom>
          <a:ln w="28574">
            <a:solidFill>
              <a:srgbClr val="000000"/>
            </a:solidFill>
          </a:ln>
        </p:spPr>
        <p:txBody>
          <a:bodyPr wrap="square" lIns="0" tIns="0" rIns="0" bIns="0" rtlCol="0"/>
          <a:lstStyle/>
          <a:p>
            <a:endParaRPr/>
          </a:p>
        </p:txBody>
      </p:sp>
    </p:spTree>
    <p:extLst>
      <p:ext uri="{BB962C8B-B14F-4D97-AF65-F5344CB8AC3E}">
        <p14:creationId xmlns:p14="http://schemas.microsoft.com/office/powerpoint/2010/main" xmlns="" val="307817448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5070347" y="260604"/>
            <a:ext cx="886968"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prstGeom prst="rect">
            <a:avLst/>
          </a:prstGeom>
        </p:spPr>
        <p:txBody>
          <a:bodyPr vert="horz" wrap="square" lIns="0" tIns="0" rIns="0" bIns="0" rtlCol="0">
            <a:spAutoFit/>
          </a:bodyPr>
          <a:lstStyle/>
          <a:p>
            <a:pPr>
              <a:lnSpc>
                <a:spcPct val="100000"/>
              </a:lnSpc>
            </a:pPr>
            <a:r>
              <a:rPr dirty="0"/>
              <a:t>Define Sales Office</a:t>
            </a:r>
          </a:p>
        </p:txBody>
      </p:sp>
      <p:sp>
        <p:nvSpPr>
          <p:cNvPr id="5" name="object 5"/>
          <p:cNvSpPr/>
          <p:nvPr/>
        </p:nvSpPr>
        <p:spPr>
          <a:xfrm>
            <a:off x="457200" y="1260475"/>
            <a:ext cx="4114800" cy="3921125"/>
          </a:xfrm>
          <a:prstGeom prst="rect">
            <a:avLst/>
          </a:prstGeom>
          <a:blipFill>
            <a:blip r:embed="rId3" cstate="print"/>
            <a:stretch>
              <a:fillRect/>
            </a:stretch>
          </a:blipFill>
        </p:spPr>
        <p:txBody>
          <a:bodyPr wrap="square" lIns="0" tIns="0" rIns="0" bIns="0" rtlCol="0"/>
          <a:lstStyle/>
          <a:p>
            <a:endParaRPr/>
          </a:p>
        </p:txBody>
      </p:sp>
      <p:sp>
        <p:nvSpPr>
          <p:cNvPr id="6" name="object 6"/>
          <p:cNvSpPr/>
          <p:nvPr/>
        </p:nvSpPr>
        <p:spPr>
          <a:xfrm>
            <a:off x="442912" y="1246124"/>
            <a:ext cx="4143375" cy="3949700"/>
          </a:xfrm>
          <a:custGeom>
            <a:avLst/>
            <a:gdLst/>
            <a:ahLst/>
            <a:cxnLst/>
            <a:rect l="l" t="t" r="r" b="b"/>
            <a:pathLst>
              <a:path w="4143375" h="3949700">
                <a:moveTo>
                  <a:pt x="0" y="3949700"/>
                </a:moveTo>
                <a:lnTo>
                  <a:pt x="4143375" y="3949700"/>
                </a:lnTo>
                <a:lnTo>
                  <a:pt x="4143375" y="0"/>
                </a:lnTo>
                <a:lnTo>
                  <a:pt x="0" y="0"/>
                </a:lnTo>
                <a:lnTo>
                  <a:pt x="0" y="3949700"/>
                </a:lnTo>
                <a:close/>
              </a:path>
            </a:pathLst>
          </a:custGeom>
          <a:ln w="28575">
            <a:solidFill>
              <a:srgbClr val="000000"/>
            </a:solidFill>
          </a:ln>
        </p:spPr>
        <p:txBody>
          <a:bodyPr wrap="square" lIns="0" tIns="0" rIns="0" bIns="0" rtlCol="0"/>
          <a:lstStyle/>
          <a:p>
            <a:endParaRPr/>
          </a:p>
        </p:txBody>
      </p:sp>
      <p:sp>
        <p:nvSpPr>
          <p:cNvPr id="7" name="object 7"/>
          <p:cNvSpPr/>
          <p:nvPr/>
        </p:nvSpPr>
        <p:spPr>
          <a:xfrm>
            <a:off x="4876800" y="1828800"/>
            <a:ext cx="3462401" cy="3352800"/>
          </a:xfrm>
          <a:prstGeom prst="rect">
            <a:avLst/>
          </a:prstGeom>
          <a:blipFill>
            <a:blip r:embed="rId4" cstate="print"/>
            <a:stretch>
              <a:fillRect/>
            </a:stretch>
          </a:blipFill>
        </p:spPr>
        <p:txBody>
          <a:bodyPr wrap="square" lIns="0" tIns="0" rIns="0" bIns="0" rtlCol="0"/>
          <a:lstStyle/>
          <a:p>
            <a:endParaRPr/>
          </a:p>
        </p:txBody>
      </p:sp>
      <p:sp>
        <p:nvSpPr>
          <p:cNvPr id="8" name="object 8"/>
          <p:cNvSpPr/>
          <p:nvPr/>
        </p:nvSpPr>
        <p:spPr>
          <a:xfrm>
            <a:off x="4862448" y="1814448"/>
            <a:ext cx="3491229" cy="3381375"/>
          </a:xfrm>
          <a:custGeom>
            <a:avLst/>
            <a:gdLst/>
            <a:ahLst/>
            <a:cxnLst/>
            <a:rect l="l" t="t" r="r" b="b"/>
            <a:pathLst>
              <a:path w="3491229" h="3381375">
                <a:moveTo>
                  <a:pt x="0" y="3381375"/>
                </a:moveTo>
                <a:lnTo>
                  <a:pt x="3490976" y="3381375"/>
                </a:lnTo>
                <a:lnTo>
                  <a:pt x="3490976" y="0"/>
                </a:lnTo>
                <a:lnTo>
                  <a:pt x="0" y="0"/>
                </a:lnTo>
                <a:lnTo>
                  <a:pt x="0" y="3381375"/>
                </a:lnTo>
                <a:close/>
              </a:path>
            </a:pathLst>
          </a:custGeom>
          <a:ln w="28575">
            <a:solidFill>
              <a:srgbClr val="000000"/>
            </a:solidFill>
          </a:ln>
        </p:spPr>
        <p:txBody>
          <a:bodyPr wrap="square" lIns="0" tIns="0" rIns="0" bIns="0" rtlCol="0"/>
          <a:lstStyle/>
          <a:p>
            <a:endParaRPr/>
          </a:p>
        </p:txBody>
      </p:sp>
      <p:sp>
        <p:nvSpPr>
          <p:cNvPr id="9" name="object 9"/>
          <p:cNvSpPr/>
          <p:nvPr/>
        </p:nvSpPr>
        <p:spPr>
          <a:xfrm>
            <a:off x="2916173" y="1219200"/>
            <a:ext cx="3637279" cy="457200"/>
          </a:xfrm>
          <a:custGeom>
            <a:avLst/>
            <a:gdLst/>
            <a:ahLst/>
            <a:cxnLst/>
            <a:rect l="l" t="t" r="r" b="b"/>
            <a:pathLst>
              <a:path w="3637279" h="457200">
                <a:moveTo>
                  <a:pt x="3637026" y="381000"/>
                </a:moveTo>
                <a:lnTo>
                  <a:pt x="2189226" y="381000"/>
                </a:lnTo>
                <a:lnTo>
                  <a:pt x="2195220" y="410640"/>
                </a:lnTo>
                <a:lnTo>
                  <a:pt x="2211562" y="434863"/>
                </a:lnTo>
                <a:lnTo>
                  <a:pt x="2235785" y="451205"/>
                </a:lnTo>
                <a:lnTo>
                  <a:pt x="2265426" y="457200"/>
                </a:lnTo>
                <a:lnTo>
                  <a:pt x="3560826" y="457200"/>
                </a:lnTo>
                <a:lnTo>
                  <a:pt x="3590466" y="451205"/>
                </a:lnTo>
                <a:lnTo>
                  <a:pt x="3614689" y="434863"/>
                </a:lnTo>
                <a:lnTo>
                  <a:pt x="3631031" y="410640"/>
                </a:lnTo>
                <a:lnTo>
                  <a:pt x="3637026" y="381000"/>
                </a:lnTo>
                <a:close/>
              </a:path>
              <a:path w="3637279" h="457200">
                <a:moveTo>
                  <a:pt x="3560826" y="0"/>
                </a:moveTo>
                <a:lnTo>
                  <a:pt x="2265426" y="0"/>
                </a:lnTo>
                <a:lnTo>
                  <a:pt x="2235785" y="5994"/>
                </a:lnTo>
                <a:lnTo>
                  <a:pt x="2211562" y="22336"/>
                </a:lnTo>
                <a:lnTo>
                  <a:pt x="2195220" y="46559"/>
                </a:lnTo>
                <a:lnTo>
                  <a:pt x="2189226" y="76200"/>
                </a:lnTo>
                <a:lnTo>
                  <a:pt x="2189226" y="266700"/>
                </a:lnTo>
                <a:lnTo>
                  <a:pt x="0" y="403225"/>
                </a:lnTo>
                <a:lnTo>
                  <a:pt x="2189226" y="381000"/>
                </a:lnTo>
                <a:lnTo>
                  <a:pt x="3637026" y="381000"/>
                </a:lnTo>
                <a:lnTo>
                  <a:pt x="3637026" y="76200"/>
                </a:lnTo>
                <a:lnTo>
                  <a:pt x="3631031" y="46559"/>
                </a:lnTo>
                <a:lnTo>
                  <a:pt x="3614689" y="22336"/>
                </a:lnTo>
                <a:lnTo>
                  <a:pt x="3590466" y="5994"/>
                </a:lnTo>
                <a:lnTo>
                  <a:pt x="3560826" y="0"/>
                </a:lnTo>
                <a:close/>
              </a:path>
            </a:pathLst>
          </a:custGeom>
          <a:solidFill>
            <a:srgbClr val="FFFF99"/>
          </a:solidFill>
        </p:spPr>
        <p:txBody>
          <a:bodyPr wrap="square" lIns="0" tIns="0" rIns="0" bIns="0" rtlCol="0"/>
          <a:lstStyle/>
          <a:p>
            <a:endParaRPr/>
          </a:p>
        </p:txBody>
      </p:sp>
      <p:sp>
        <p:nvSpPr>
          <p:cNvPr id="10" name="object 10"/>
          <p:cNvSpPr/>
          <p:nvPr/>
        </p:nvSpPr>
        <p:spPr>
          <a:xfrm>
            <a:off x="2916173" y="1219200"/>
            <a:ext cx="3637279" cy="457200"/>
          </a:xfrm>
          <a:custGeom>
            <a:avLst/>
            <a:gdLst/>
            <a:ahLst/>
            <a:cxnLst/>
            <a:rect l="l" t="t" r="r" b="b"/>
            <a:pathLst>
              <a:path w="3637279" h="457200">
                <a:moveTo>
                  <a:pt x="2189226" y="381000"/>
                </a:moveTo>
                <a:lnTo>
                  <a:pt x="2195220" y="410640"/>
                </a:lnTo>
                <a:lnTo>
                  <a:pt x="2211562" y="434863"/>
                </a:lnTo>
                <a:lnTo>
                  <a:pt x="2235785" y="451205"/>
                </a:lnTo>
                <a:lnTo>
                  <a:pt x="2265426" y="457200"/>
                </a:lnTo>
                <a:lnTo>
                  <a:pt x="2430526" y="457200"/>
                </a:lnTo>
                <a:lnTo>
                  <a:pt x="2792476" y="457200"/>
                </a:lnTo>
                <a:lnTo>
                  <a:pt x="3560826" y="457200"/>
                </a:lnTo>
                <a:lnTo>
                  <a:pt x="3590466" y="451205"/>
                </a:lnTo>
                <a:lnTo>
                  <a:pt x="3614689" y="434863"/>
                </a:lnTo>
                <a:lnTo>
                  <a:pt x="3631031" y="410640"/>
                </a:lnTo>
                <a:lnTo>
                  <a:pt x="3637026" y="381000"/>
                </a:lnTo>
                <a:lnTo>
                  <a:pt x="3637026" y="266700"/>
                </a:lnTo>
                <a:lnTo>
                  <a:pt x="3637026" y="76200"/>
                </a:lnTo>
                <a:lnTo>
                  <a:pt x="3631031" y="46559"/>
                </a:lnTo>
                <a:lnTo>
                  <a:pt x="3614689" y="22336"/>
                </a:lnTo>
                <a:lnTo>
                  <a:pt x="3590466" y="5994"/>
                </a:lnTo>
                <a:lnTo>
                  <a:pt x="3560826" y="0"/>
                </a:lnTo>
                <a:lnTo>
                  <a:pt x="2792476" y="0"/>
                </a:lnTo>
                <a:lnTo>
                  <a:pt x="2430526" y="0"/>
                </a:lnTo>
                <a:lnTo>
                  <a:pt x="2265426" y="0"/>
                </a:lnTo>
                <a:lnTo>
                  <a:pt x="2235785" y="5994"/>
                </a:lnTo>
                <a:lnTo>
                  <a:pt x="2211562" y="22336"/>
                </a:lnTo>
                <a:lnTo>
                  <a:pt x="2195220" y="46559"/>
                </a:lnTo>
                <a:lnTo>
                  <a:pt x="2189226" y="76200"/>
                </a:lnTo>
                <a:lnTo>
                  <a:pt x="2189226" y="266700"/>
                </a:lnTo>
                <a:lnTo>
                  <a:pt x="0" y="403225"/>
                </a:lnTo>
                <a:lnTo>
                  <a:pt x="2189226" y="381000"/>
                </a:lnTo>
                <a:close/>
              </a:path>
            </a:pathLst>
          </a:custGeom>
          <a:ln w="12700">
            <a:solidFill>
              <a:srgbClr val="FFFFFF"/>
            </a:solidFill>
          </a:ln>
        </p:spPr>
        <p:txBody>
          <a:bodyPr wrap="square" lIns="0" tIns="0" rIns="0" bIns="0" rtlCol="0"/>
          <a:lstStyle/>
          <a:p>
            <a:endParaRPr/>
          </a:p>
        </p:txBody>
      </p:sp>
      <p:sp>
        <p:nvSpPr>
          <p:cNvPr id="11" name="object 11"/>
          <p:cNvSpPr txBox="1"/>
          <p:nvPr/>
        </p:nvSpPr>
        <p:spPr>
          <a:xfrm>
            <a:off x="5250560" y="1282953"/>
            <a:ext cx="1157605" cy="377825"/>
          </a:xfrm>
          <a:prstGeom prst="rect">
            <a:avLst/>
          </a:prstGeom>
        </p:spPr>
        <p:txBody>
          <a:bodyPr vert="horz" wrap="square" lIns="0" tIns="0" rIns="0" bIns="0" rtlCol="0">
            <a:spAutoFit/>
          </a:bodyPr>
          <a:lstStyle/>
          <a:p>
            <a:pPr marL="330835" marR="5080" indent="-318770">
              <a:lnSpc>
                <a:spcPct val="100000"/>
              </a:lnSpc>
            </a:pPr>
            <a:r>
              <a:rPr sz="1200" b="1" dirty="0">
                <a:latin typeface="Times New Roman"/>
                <a:cs typeface="Times New Roman"/>
              </a:rPr>
              <a:t>Click to</a:t>
            </a:r>
            <a:r>
              <a:rPr sz="1200" b="1" spc="-85" dirty="0">
                <a:latin typeface="Times New Roman"/>
                <a:cs typeface="Times New Roman"/>
              </a:rPr>
              <a:t> </a:t>
            </a:r>
            <a:r>
              <a:rPr sz="1200" b="1" spc="-5" dirty="0">
                <a:latin typeface="Times New Roman"/>
                <a:cs typeface="Times New Roman"/>
              </a:rPr>
              <a:t>maintain  </a:t>
            </a:r>
            <a:r>
              <a:rPr sz="1200" b="1" spc="-10" dirty="0">
                <a:latin typeface="Times New Roman"/>
                <a:cs typeface="Times New Roman"/>
              </a:rPr>
              <a:t>address</a:t>
            </a:r>
            <a:endParaRPr sz="1200">
              <a:latin typeface="Times New Roman"/>
              <a:cs typeface="Times New Roman"/>
            </a:endParaRPr>
          </a:p>
        </p:txBody>
      </p:sp>
      <p:sp>
        <p:nvSpPr>
          <p:cNvPr id="12" name="object 12"/>
          <p:cNvSpPr txBox="1"/>
          <p:nvPr/>
        </p:nvSpPr>
        <p:spPr>
          <a:xfrm>
            <a:off x="459740" y="5451043"/>
            <a:ext cx="7872730" cy="285115"/>
          </a:xfrm>
          <a:prstGeom prst="rect">
            <a:avLst/>
          </a:prstGeom>
        </p:spPr>
        <p:txBody>
          <a:bodyPr vert="horz" wrap="square" lIns="0" tIns="0" rIns="0" bIns="0" rtlCol="0">
            <a:spAutoFit/>
          </a:bodyPr>
          <a:lstStyle/>
          <a:p>
            <a:pPr marL="12700">
              <a:lnSpc>
                <a:spcPct val="100000"/>
              </a:lnSpc>
            </a:pPr>
            <a:r>
              <a:rPr sz="1800" b="1" spc="-5" dirty="0">
                <a:latin typeface="Arial"/>
                <a:cs typeface="Arial"/>
              </a:rPr>
              <a:t>Display </a:t>
            </a:r>
            <a:r>
              <a:rPr sz="1800" b="1" dirty="0">
                <a:latin typeface="Arial"/>
                <a:cs typeface="Arial"/>
              </a:rPr>
              <a:t>IMG</a:t>
            </a:r>
            <a:r>
              <a:rPr sz="1800" b="1" dirty="0">
                <a:latin typeface="Wingdings"/>
                <a:cs typeface="Wingdings"/>
              </a:rPr>
              <a:t></a:t>
            </a:r>
            <a:r>
              <a:rPr sz="1800" b="1" dirty="0">
                <a:latin typeface="Times New Roman"/>
                <a:cs typeface="Times New Roman"/>
              </a:rPr>
              <a:t> </a:t>
            </a:r>
            <a:r>
              <a:rPr sz="1800" b="1" spc="-5" dirty="0">
                <a:latin typeface="Arial"/>
                <a:cs typeface="Arial"/>
              </a:rPr>
              <a:t>Enterprise Structure</a:t>
            </a:r>
            <a:r>
              <a:rPr sz="1800" b="1" spc="-5" dirty="0">
                <a:latin typeface="Wingdings"/>
                <a:cs typeface="Wingdings"/>
              </a:rPr>
              <a:t></a:t>
            </a:r>
            <a:r>
              <a:rPr sz="1800" b="1" spc="-5" dirty="0">
                <a:latin typeface="Times New Roman"/>
                <a:cs typeface="Times New Roman"/>
              </a:rPr>
              <a:t> </a:t>
            </a:r>
            <a:r>
              <a:rPr sz="1800" b="1" dirty="0">
                <a:latin typeface="Arial"/>
                <a:cs typeface="Arial"/>
              </a:rPr>
              <a:t>Definition </a:t>
            </a:r>
            <a:r>
              <a:rPr sz="1800" b="1" spc="-5" dirty="0">
                <a:latin typeface="Wingdings"/>
                <a:cs typeface="Wingdings"/>
              </a:rPr>
              <a:t></a:t>
            </a:r>
            <a:r>
              <a:rPr sz="1800" b="1" spc="-5" dirty="0">
                <a:latin typeface="Arial"/>
                <a:cs typeface="Arial"/>
              </a:rPr>
              <a:t>Sales </a:t>
            </a:r>
            <a:r>
              <a:rPr sz="1800" b="1" dirty="0">
                <a:latin typeface="Arial"/>
                <a:cs typeface="Arial"/>
              </a:rPr>
              <a:t>and</a:t>
            </a:r>
            <a:r>
              <a:rPr sz="1800" b="1" spc="125" dirty="0">
                <a:latin typeface="Arial"/>
                <a:cs typeface="Arial"/>
              </a:rPr>
              <a:t> </a:t>
            </a:r>
            <a:r>
              <a:rPr sz="1800" b="1" dirty="0">
                <a:latin typeface="Arial"/>
                <a:cs typeface="Arial"/>
              </a:rPr>
              <a:t>Distribution</a:t>
            </a:r>
            <a:endParaRPr sz="1800">
              <a:latin typeface="Arial"/>
              <a:cs typeface="Arial"/>
            </a:endParaRPr>
          </a:p>
        </p:txBody>
      </p:sp>
      <p:sp>
        <p:nvSpPr>
          <p:cNvPr id="13" name="object 13"/>
          <p:cNvSpPr/>
          <p:nvPr/>
        </p:nvSpPr>
        <p:spPr>
          <a:xfrm>
            <a:off x="228600" y="5867400"/>
            <a:ext cx="8610600" cy="381000"/>
          </a:xfrm>
          <a:prstGeom prst="rect">
            <a:avLst/>
          </a:prstGeom>
          <a:blipFill>
            <a:blip r:embed="rId5" cstate="print"/>
            <a:stretch>
              <a:fillRect/>
            </a:stretch>
          </a:blipFill>
        </p:spPr>
        <p:txBody>
          <a:bodyPr wrap="square" lIns="0" tIns="0" rIns="0" bIns="0" rtlCol="0"/>
          <a:lstStyle/>
          <a:p>
            <a:endParaRPr/>
          </a:p>
        </p:txBody>
      </p:sp>
      <p:sp>
        <p:nvSpPr>
          <p:cNvPr id="14" name="object 14"/>
          <p:cNvSpPr txBox="1"/>
          <p:nvPr/>
        </p:nvSpPr>
        <p:spPr>
          <a:xfrm>
            <a:off x="228600" y="5867400"/>
            <a:ext cx="8610600" cy="381000"/>
          </a:xfrm>
          <a:prstGeom prst="rect">
            <a:avLst/>
          </a:prstGeom>
          <a:ln w="12700">
            <a:solidFill>
              <a:srgbClr val="000000"/>
            </a:solidFill>
          </a:ln>
        </p:spPr>
        <p:txBody>
          <a:bodyPr vert="horz" wrap="square" lIns="0" tIns="25400" rIns="0" bIns="0" rtlCol="0">
            <a:spAutoFit/>
          </a:bodyPr>
          <a:lstStyle/>
          <a:p>
            <a:pPr marL="631190">
              <a:lnSpc>
                <a:spcPct val="100000"/>
              </a:lnSpc>
              <a:spcBef>
                <a:spcPts val="200"/>
              </a:spcBef>
            </a:pPr>
            <a:r>
              <a:rPr sz="2000" b="1" dirty="0">
                <a:latin typeface="Arial"/>
                <a:cs typeface="Arial"/>
              </a:rPr>
              <a:t>A Sales Office is just a text </a:t>
            </a:r>
            <a:r>
              <a:rPr sz="2000" b="1" spc="-5" dirty="0">
                <a:latin typeface="Arial"/>
                <a:cs typeface="Arial"/>
              </a:rPr>
              <a:t>value </a:t>
            </a:r>
            <a:r>
              <a:rPr sz="2000" b="1" dirty="0">
                <a:latin typeface="Arial"/>
                <a:cs typeface="Arial"/>
              </a:rPr>
              <a:t>and has no controls</a:t>
            </a:r>
            <a:r>
              <a:rPr sz="2000" b="1" spc="-275" dirty="0">
                <a:latin typeface="Arial"/>
                <a:cs typeface="Arial"/>
              </a:rPr>
              <a:t> </a:t>
            </a:r>
            <a:r>
              <a:rPr sz="2000" b="1" dirty="0">
                <a:latin typeface="Arial"/>
                <a:cs typeface="Arial"/>
              </a:rPr>
              <a:t>behind</a:t>
            </a:r>
            <a:endParaRPr sz="2000">
              <a:latin typeface="Arial"/>
              <a:cs typeface="Arial"/>
            </a:endParaRPr>
          </a:p>
        </p:txBody>
      </p:sp>
      <p:sp>
        <p:nvSpPr>
          <p:cNvPr id="16" name="object 16"/>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36</a:t>
            </a:fld>
            <a:endParaRPr sz="1200">
              <a:latin typeface="Symbol"/>
              <a:cs typeface="Symbol"/>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8138159" y="274320"/>
            <a:ext cx="809244" cy="819912"/>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152400" y="152400"/>
            <a:ext cx="9144000" cy="492443"/>
          </a:xfrm>
          <a:prstGeom prst="rect">
            <a:avLst/>
          </a:prstGeom>
        </p:spPr>
        <p:txBody>
          <a:bodyPr vert="horz" wrap="square" lIns="0" tIns="0" rIns="0" bIns="0" rtlCol="0">
            <a:spAutoFit/>
          </a:bodyPr>
          <a:lstStyle/>
          <a:p>
            <a:r>
              <a:rPr dirty="0"/>
              <a:t>Assign Sales Office to Sales Area</a:t>
            </a:r>
          </a:p>
        </p:txBody>
      </p:sp>
      <p:sp>
        <p:nvSpPr>
          <p:cNvPr id="5" name="object 5"/>
          <p:cNvSpPr/>
          <p:nvPr/>
        </p:nvSpPr>
        <p:spPr>
          <a:xfrm>
            <a:off x="4191000" y="1524000"/>
            <a:ext cx="4648200" cy="3352800"/>
          </a:xfrm>
          <a:prstGeom prst="rect">
            <a:avLst/>
          </a:prstGeom>
          <a:blipFill>
            <a:blip r:embed="rId3" cstate="print"/>
            <a:stretch>
              <a:fillRect/>
            </a:stretch>
          </a:blipFill>
        </p:spPr>
        <p:txBody>
          <a:bodyPr wrap="square" lIns="0" tIns="0" rIns="0" bIns="0" rtlCol="0"/>
          <a:lstStyle/>
          <a:p>
            <a:endParaRPr/>
          </a:p>
        </p:txBody>
      </p:sp>
      <p:sp>
        <p:nvSpPr>
          <p:cNvPr id="6" name="object 6"/>
          <p:cNvSpPr txBox="1"/>
          <p:nvPr/>
        </p:nvSpPr>
        <p:spPr>
          <a:xfrm>
            <a:off x="459740" y="5755843"/>
            <a:ext cx="8117840" cy="285115"/>
          </a:xfrm>
          <a:prstGeom prst="rect">
            <a:avLst/>
          </a:prstGeom>
        </p:spPr>
        <p:txBody>
          <a:bodyPr vert="horz" wrap="square" lIns="0" tIns="0" rIns="0" bIns="0" rtlCol="0">
            <a:spAutoFit/>
          </a:bodyPr>
          <a:lstStyle/>
          <a:p>
            <a:pPr marL="12700">
              <a:lnSpc>
                <a:spcPct val="100000"/>
              </a:lnSpc>
            </a:pPr>
            <a:r>
              <a:rPr sz="1800" b="1" spc="-5" dirty="0">
                <a:latin typeface="Arial"/>
                <a:cs typeface="Arial"/>
              </a:rPr>
              <a:t>Display </a:t>
            </a:r>
            <a:r>
              <a:rPr sz="1800" b="1" dirty="0">
                <a:latin typeface="Arial"/>
                <a:cs typeface="Arial"/>
              </a:rPr>
              <a:t>IMG</a:t>
            </a:r>
            <a:r>
              <a:rPr sz="1800" b="1" dirty="0">
                <a:latin typeface="Wingdings"/>
                <a:cs typeface="Wingdings"/>
              </a:rPr>
              <a:t></a:t>
            </a:r>
            <a:r>
              <a:rPr sz="1800" b="1" dirty="0">
                <a:latin typeface="Times New Roman"/>
                <a:cs typeface="Times New Roman"/>
              </a:rPr>
              <a:t> </a:t>
            </a:r>
            <a:r>
              <a:rPr sz="1800" b="1" spc="-5" dirty="0">
                <a:latin typeface="Arial"/>
                <a:cs typeface="Arial"/>
              </a:rPr>
              <a:t>Enterprise Structure</a:t>
            </a:r>
            <a:r>
              <a:rPr sz="1800" b="1" spc="-5" dirty="0">
                <a:latin typeface="Wingdings"/>
                <a:cs typeface="Wingdings"/>
              </a:rPr>
              <a:t></a:t>
            </a:r>
            <a:r>
              <a:rPr sz="1800" b="1" spc="-5" dirty="0">
                <a:latin typeface="Times New Roman"/>
                <a:cs typeface="Times New Roman"/>
              </a:rPr>
              <a:t> </a:t>
            </a:r>
            <a:r>
              <a:rPr sz="1800" b="1" spc="-5" dirty="0">
                <a:latin typeface="Arial"/>
                <a:cs typeface="Arial"/>
              </a:rPr>
              <a:t>Assignment </a:t>
            </a:r>
            <a:r>
              <a:rPr sz="1800" b="1" spc="-5" dirty="0">
                <a:latin typeface="Wingdings"/>
                <a:cs typeface="Wingdings"/>
              </a:rPr>
              <a:t></a:t>
            </a:r>
            <a:r>
              <a:rPr sz="1800" b="1" spc="-5" dirty="0">
                <a:latin typeface="Arial"/>
                <a:cs typeface="Arial"/>
              </a:rPr>
              <a:t>Sales </a:t>
            </a:r>
            <a:r>
              <a:rPr sz="1800" b="1" dirty="0">
                <a:latin typeface="Arial"/>
                <a:cs typeface="Arial"/>
              </a:rPr>
              <a:t>and</a:t>
            </a:r>
            <a:r>
              <a:rPr sz="1800" b="1" spc="110" dirty="0">
                <a:latin typeface="Arial"/>
                <a:cs typeface="Arial"/>
              </a:rPr>
              <a:t> </a:t>
            </a:r>
            <a:r>
              <a:rPr sz="1800" b="1" dirty="0">
                <a:latin typeface="Arial"/>
                <a:cs typeface="Arial"/>
              </a:rPr>
              <a:t>Distribution</a:t>
            </a:r>
            <a:endParaRPr sz="1800">
              <a:latin typeface="Arial"/>
              <a:cs typeface="Arial"/>
            </a:endParaRPr>
          </a:p>
        </p:txBody>
      </p:sp>
      <p:sp>
        <p:nvSpPr>
          <p:cNvPr id="7" name="object 7"/>
          <p:cNvSpPr/>
          <p:nvPr/>
        </p:nvSpPr>
        <p:spPr>
          <a:xfrm>
            <a:off x="133921" y="1289558"/>
            <a:ext cx="3828541" cy="3892041"/>
          </a:xfrm>
          <a:prstGeom prst="rect">
            <a:avLst/>
          </a:prstGeom>
          <a:blipFill>
            <a:blip r:embed="rId4" cstate="print"/>
            <a:stretch>
              <a:fillRect/>
            </a:stretch>
          </a:blipFill>
        </p:spPr>
        <p:txBody>
          <a:bodyPr wrap="square" lIns="0" tIns="0" rIns="0" bIns="0" rtlCol="0"/>
          <a:lstStyle/>
          <a:p>
            <a:endParaRPr/>
          </a:p>
        </p:txBody>
      </p:sp>
      <p:sp>
        <p:nvSpPr>
          <p:cNvPr id="9" name="object 9"/>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37</a:t>
            </a:fld>
            <a:endParaRPr sz="1200">
              <a:latin typeface="Symbol"/>
              <a:cs typeface="Symbol"/>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3299459" y="260604"/>
            <a:ext cx="886967"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154939" y="194594"/>
            <a:ext cx="9144000" cy="492443"/>
          </a:xfrm>
          <a:prstGeom prst="rect">
            <a:avLst/>
          </a:prstGeom>
        </p:spPr>
        <p:txBody>
          <a:bodyPr vert="horz" wrap="square" lIns="0" tIns="0" rIns="0" bIns="0" rtlCol="0">
            <a:spAutoFit/>
          </a:bodyPr>
          <a:lstStyle/>
          <a:p>
            <a:pPr>
              <a:lnSpc>
                <a:spcPct val="100000"/>
              </a:lnSpc>
            </a:pPr>
            <a:r>
              <a:rPr dirty="0"/>
              <a:t>Sales</a:t>
            </a:r>
            <a:r>
              <a:rPr lang="en-US" dirty="0"/>
              <a:t> </a:t>
            </a:r>
            <a:r>
              <a:rPr lang="en-US" dirty="0" smtClean="0"/>
              <a:t>Group</a:t>
            </a:r>
            <a:endParaRPr dirty="0"/>
          </a:p>
        </p:txBody>
      </p:sp>
      <p:sp>
        <p:nvSpPr>
          <p:cNvPr id="5" name="object 5"/>
          <p:cNvSpPr/>
          <p:nvPr/>
        </p:nvSpPr>
        <p:spPr>
          <a:xfrm>
            <a:off x="2059051" y="1671701"/>
            <a:ext cx="4875149" cy="3128899"/>
          </a:xfrm>
          <a:prstGeom prst="rect">
            <a:avLst/>
          </a:prstGeom>
          <a:blipFill>
            <a:blip r:embed="rId3" cstate="print"/>
            <a:stretch>
              <a:fillRect/>
            </a:stretch>
          </a:blipFill>
        </p:spPr>
        <p:txBody>
          <a:bodyPr wrap="square" lIns="0" tIns="0" rIns="0" bIns="0" rtlCol="0"/>
          <a:lstStyle/>
          <a:p>
            <a:endParaRPr/>
          </a:p>
        </p:txBody>
      </p:sp>
      <p:sp>
        <p:nvSpPr>
          <p:cNvPr id="6" name="object 6"/>
          <p:cNvSpPr/>
          <p:nvPr/>
        </p:nvSpPr>
        <p:spPr>
          <a:xfrm>
            <a:off x="2035175" y="1647825"/>
            <a:ext cx="4918075" cy="3171825"/>
          </a:xfrm>
          <a:custGeom>
            <a:avLst/>
            <a:gdLst/>
            <a:ahLst/>
            <a:cxnLst/>
            <a:rect l="l" t="t" r="r" b="b"/>
            <a:pathLst>
              <a:path w="4918075" h="3171825">
                <a:moveTo>
                  <a:pt x="0" y="3171825"/>
                </a:moveTo>
                <a:lnTo>
                  <a:pt x="4918075" y="3171825"/>
                </a:lnTo>
                <a:lnTo>
                  <a:pt x="4918075" y="0"/>
                </a:lnTo>
                <a:lnTo>
                  <a:pt x="0" y="0"/>
                </a:lnTo>
                <a:lnTo>
                  <a:pt x="0" y="3171825"/>
                </a:lnTo>
                <a:close/>
              </a:path>
            </a:pathLst>
          </a:custGeom>
          <a:ln w="38100">
            <a:solidFill>
              <a:srgbClr val="000000"/>
            </a:solidFill>
          </a:ln>
        </p:spPr>
        <p:txBody>
          <a:bodyPr wrap="square" lIns="0" tIns="0" rIns="0" bIns="0" rtlCol="0"/>
          <a:lstStyle/>
          <a:p>
            <a:endParaRPr/>
          </a:p>
        </p:txBody>
      </p:sp>
      <p:sp>
        <p:nvSpPr>
          <p:cNvPr id="7" name="object 7"/>
          <p:cNvSpPr txBox="1"/>
          <p:nvPr/>
        </p:nvSpPr>
        <p:spPr>
          <a:xfrm>
            <a:off x="154939" y="5300217"/>
            <a:ext cx="8839835" cy="240029"/>
          </a:xfrm>
          <a:prstGeom prst="rect">
            <a:avLst/>
          </a:prstGeom>
        </p:spPr>
        <p:txBody>
          <a:bodyPr vert="horz" wrap="square" lIns="0" tIns="0" rIns="0" bIns="0" rtlCol="0">
            <a:spAutoFit/>
          </a:bodyPr>
          <a:lstStyle/>
          <a:p>
            <a:pPr marL="12700">
              <a:lnSpc>
                <a:spcPct val="100000"/>
              </a:lnSpc>
            </a:pPr>
            <a:r>
              <a:rPr sz="1500" b="1" dirty="0">
                <a:latin typeface="Arial"/>
                <a:cs typeface="Arial"/>
              </a:rPr>
              <a:t>Display IMG </a:t>
            </a:r>
            <a:r>
              <a:rPr sz="1500" b="1" dirty="0">
                <a:latin typeface="Wingdings"/>
                <a:cs typeface="Wingdings"/>
              </a:rPr>
              <a:t></a:t>
            </a:r>
            <a:r>
              <a:rPr sz="1500" b="1" dirty="0">
                <a:latin typeface="Times New Roman"/>
                <a:cs typeface="Times New Roman"/>
              </a:rPr>
              <a:t> </a:t>
            </a:r>
            <a:r>
              <a:rPr sz="1500" b="1" dirty="0">
                <a:latin typeface="Arial"/>
                <a:cs typeface="Arial"/>
              </a:rPr>
              <a:t>Enterprise structure </a:t>
            </a:r>
            <a:r>
              <a:rPr sz="1500" b="1" dirty="0">
                <a:latin typeface="Wingdings"/>
                <a:cs typeface="Wingdings"/>
              </a:rPr>
              <a:t></a:t>
            </a:r>
            <a:r>
              <a:rPr sz="1500" b="1" dirty="0">
                <a:latin typeface="Times New Roman"/>
                <a:cs typeface="Times New Roman"/>
              </a:rPr>
              <a:t> </a:t>
            </a:r>
            <a:r>
              <a:rPr sz="1500" b="1" spc="-5" dirty="0">
                <a:latin typeface="Arial"/>
                <a:cs typeface="Arial"/>
              </a:rPr>
              <a:t>Definition </a:t>
            </a:r>
            <a:r>
              <a:rPr sz="1500" b="1" dirty="0">
                <a:latin typeface="Wingdings"/>
                <a:cs typeface="Wingdings"/>
              </a:rPr>
              <a:t></a:t>
            </a:r>
            <a:r>
              <a:rPr sz="1500" b="1" dirty="0">
                <a:latin typeface="Times New Roman"/>
                <a:cs typeface="Times New Roman"/>
              </a:rPr>
              <a:t> </a:t>
            </a:r>
            <a:r>
              <a:rPr sz="1500" b="1" dirty="0">
                <a:latin typeface="Arial"/>
                <a:cs typeface="Arial"/>
              </a:rPr>
              <a:t>Sales &amp; </a:t>
            </a:r>
            <a:r>
              <a:rPr sz="1500" b="1" spc="-5" dirty="0">
                <a:latin typeface="Arial"/>
                <a:cs typeface="Arial"/>
              </a:rPr>
              <a:t>Distribution </a:t>
            </a:r>
            <a:r>
              <a:rPr sz="1500" b="1" dirty="0">
                <a:latin typeface="Wingdings"/>
                <a:cs typeface="Wingdings"/>
              </a:rPr>
              <a:t></a:t>
            </a:r>
            <a:r>
              <a:rPr sz="1500" b="1" dirty="0">
                <a:latin typeface="Times New Roman"/>
                <a:cs typeface="Times New Roman"/>
              </a:rPr>
              <a:t> </a:t>
            </a:r>
            <a:r>
              <a:rPr sz="1500" b="1" dirty="0">
                <a:latin typeface="Arial"/>
                <a:cs typeface="Arial"/>
              </a:rPr>
              <a:t>Maintain Sales</a:t>
            </a:r>
            <a:r>
              <a:rPr sz="1500" b="1" spc="35" dirty="0">
                <a:latin typeface="Arial"/>
                <a:cs typeface="Arial"/>
              </a:rPr>
              <a:t> </a:t>
            </a:r>
            <a:r>
              <a:rPr sz="1500" b="1" spc="-5" dirty="0">
                <a:latin typeface="Arial"/>
                <a:cs typeface="Arial"/>
              </a:rPr>
              <a:t>Groups</a:t>
            </a:r>
            <a:endParaRPr sz="1500">
              <a:latin typeface="Arial"/>
              <a:cs typeface="Arial"/>
            </a:endParaRPr>
          </a:p>
        </p:txBody>
      </p:sp>
      <p:sp>
        <p:nvSpPr>
          <p:cNvPr id="8" name="object 8"/>
          <p:cNvSpPr/>
          <p:nvPr/>
        </p:nvSpPr>
        <p:spPr>
          <a:xfrm>
            <a:off x="304800" y="1295400"/>
            <a:ext cx="1986280" cy="1948180"/>
          </a:xfrm>
          <a:custGeom>
            <a:avLst/>
            <a:gdLst/>
            <a:ahLst/>
            <a:cxnLst/>
            <a:rect l="l" t="t" r="r" b="b"/>
            <a:pathLst>
              <a:path w="1986280" h="1948180">
                <a:moveTo>
                  <a:pt x="1333500" y="1066800"/>
                </a:moveTo>
                <a:lnTo>
                  <a:pt x="933450" y="1066800"/>
                </a:lnTo>
                <a:lnTo>
                  <a:pt x="1985899" y="1947799"/>
                </a:lnTo>
                <a:lnTo>
                  <a:pt x="1333500" y="1066800"/>
                </a:lnTo>
                <a:close/>
              </a:path>
              <a:path w="1986280" h="1948180">
                <a:moveTo>
                  <a:pt x="1422400" y="0"/>
                </a:moveTo>
                <a:lnTo>
                  <a:pt x="177800" y="0"/>
                </a:lnTo>
                <a:lnTo>
                  <a:pt x="130533" y="6352"/>
                </a:lnTo>
                <a:lnTo>
                  <a:pt x="88060" y="24280"/>
                </a:lnTo>
                <a:lnTo>
                  <a:pt x="52076" y="52085"/>
                </a:lnTo>
                <a:lnTo>
                  <a:pt x="24274" y="88072"/>
                </a:lnTo>
                <a:lnTo>
                  <a:pt x="6351" y="130542"/>
                </a:lnTo>
                <a:lnTo>
                  <a:pt x="0" y="177800"/>
                </a:lnTo>
                <a:lnTo>
                  <a:pt x="0" y="889000"/>
                </a:lnTo>
                <a:lnTo>
                  <a:pt x="6351" y="936257"/>
                </a:lnTo>
                <a:lnTo>
                  <a:pt x="24274" y="978727"/>
                </a:lnTo>
                <a:lnTo>
                  <a:pt x="52076" y="1014714"/>
                </a:lnTo>
                <a:lnTo>
                  <a:pt x="88060" y="1042519"/>
                </a:lnTo>
                <a:lnTo>
                  <a:pt x="130533" y="1060447"/>
                </a:lnTo>
                <a:lnTo>
                  <a:pt x="177800" y="1066800"/>
                </a:lnTo>
                <a:lnTo>
                  <a:pt x="1422400" y="1066800"/>
                </a:lnTo>
                <a:lnTo>
                  <a:pt x="1469657" y="1060447"/>
                </a:lnTo>
                <a:lnTo>
                  <a:pt x="1512127" y="1042519"/>
                </a:lnTo>
                <a:lnTo>
                  <a:pt x="1548114" y="1014714"/>
                </a:lnTo>
                <a:lnTo>
                  <a:pt x="1575919" y="978727"/>
                </a:lnTo>
                <a:lnTo>
                  <a:pt x="1593847" y="936257"/>
                </a:lnTo>
                <a:lnTo>
                  <a:pt x="1600200" y="889000"/>
                </a:lnTo>
                <a:lnTo>
                  <a:pt x="1600200" y="177800"/>
                </a:lnTo>
                <a:lnTo>
                  <a:pt x="1593847" y="130542"/>
                </a:lnTo>
                <a:lnTo>
                  <a:pt x="1575919" y="88072"/>
                </a:lnTo>
                <a:lnTo>
                  <a:pt x="1548114" y="52085"/>
                </a:lnTo>
                <a:lnTo>
                  <a:pt x="1512127" y="24280"/>
                </a:lnTo>
                <a:lnTo>
                  <a:pt x="1469657" y="6352"/>
                </a:lnTo>
                <a:lnTo>
                  <a:pt x="1422400" y="0"/>
                </a:lnTo>
                <a:close/>
              </a:path>
            </a:pathLst>
          </a:custGeom>
          <a:solidFill>
            <a:srgbClr val="FFFFCC"/>
          </a:solidFill>
        </p:spPr>
        <p:txBody>
          <a:bodyPr wrap="square" lIns="0" tIns="0" rIns="0" bIns="0" rtlCol="0"/>
          <a:lstStyle/>
          <a:p>
            <a:endParaRPr/>
          </a:p>
        </p:txBody>
      </p:sp>
      <p:sp>
        <p:nvSpPr>
          <p:cNvPr id="9" name="object 9"/>
          <p:cNvSpPr/>
          <p:nvPr/>
        </p:nvSpPr>
        <p:spPr>
          <a:xfrm>
            <a:off x="304800" y="1295400"/>
            <a:ext cx="1986280" cy="1948180"/>
          </a:xfrm>
          <a:custGeom>
            <a:avLst/>
            <a:gdLst/>
            <a:ahLst/>
            <a:cxnLst/>
            <a:rect l="l" t="t" r="r" b="b"/>
            <a:pathLst>
              <a:path w="1986280" h="1948180">
                <a:moveTo>
                  <a:pt x="0" y="177800"/>
                </a:moveTo>
                <a:lnTo>
                  <a:pt x="6351" y="130542"/>
                </a:lnTo>
                <a:lnTo>
                  <a:pt x="24274" y="88072"/>
                </a:lnTo>
                <a:lnTo>
                  <a:pt x="52076" y="52085"/>
                </a:lnTo>
                <a:lnTo>
                  <a:pt x="88060" y="24280"/>
                </a:lnTo>
                <a:lnTo>
                  <a:pt x="130533" y="6352"/>
                </a:lnTo>
                <a:lnTo>
                  <a:pt x="177800" y="0"/>
                </a:lnTo>
                <a:lnTo>
                  <a:pt x="933450" y="0"/>
                </a:lnTo>
                <a:lnTo>
                  <a:pt x="1333500" y="0"/>
                </a:lnTo>
                <a:lnTo>
                  <a:pt x="1422400" y="0"/>
                </a:lnTo>
                <a:lnTo>
                  <a:pt x="1469657" y="6352"/>
                </a:lnTo>
                <a:lnTo>
                  <a:pt x="1512127" y="24280"/>
                </a:lnTo>
                <a:lnTo>
                  <a:pt x="1548114" y="52085"/>
                </a:lnTo>
                <a:lnTo>
                  <a:pt x="1575919" y="88072"/>
                </a:lnTo>
                <a:lnTo>
                  <a:pt x="1593847" y="130542"/>
                </a:lnTo>
                <a:lnTo>
                  <a:pt x="1600200" y="177800"/>
                </a:lnTo>
                <a:lnTo>
                  <a:pt x="1600200" y="622300"/>
                </a:lnTo>
                <a:lnTo>
                  <a:pt x="1600200" y="889000"/>
                </a:lnTo>
                <a:lnTo>
                  <a:pt x="1593847" y="936257"/>
                </a:lnTo>
                <a:lnTo>
                  <a:pt x="1575919" y="978727"/>
                </a:lnTo>
                <a:lnTo>
                  <a:pt x="1548114" y="1014714"/>
                </a:lnTo>
                <a:lnTo>
                  <a:pt x="1512127" y="1042519"/>
                </a:lnTo>
                <a:lnTo>
                  <a:pt x="1469657" y="1060447"/>
                </a:lnTo>
                <a:lnTo>
                  <a:pt x="1422400" y="1066800"/>
                </a:lnTo>
                <a:lnTo>
                  <a:pt x="1333500" y="1066800"/>
                </a:lnTo>
                <a:lnTo>
                  <a:pt x="1985899" y="1947799"/>
                </a:lnTo>
                <a:lnTo>
                  <a:pt x="933450" y="1066800"/>
                </a:lnTo>
                <a:lnTo>
                  <a:pt x="177800" y="1066800"/>
                </a:lnTo>
                <a:lnTo>
                  <a:pt x="130533" y="1060447"/>
                </a:lnTo>
                <a:lnTo>
                  <a:pt x="88060" y="1042519"/>
                </a:lnTo>
                <a:lnTo>
                  <a:pt x="52076" y="1014714"/>
                </a:lnTo>
                <a:lnTo>
                  <a:pt x="24274" y="978727"/>
                </a:lnTo>
                <a:lnTo>
                  <a:pt x="6351" y="936257"/>
                </a:lnTo>
                <a:lnTo>
                  <a:pt x="0" y="889000"/>
                </a:lnTo>
                <a:lnTo>
                  <a:pt x="0" y="622300"/>
                </a:lnTo>
                <a:lnTo>
                  <a:pt x="0" y="177800"/>
                </a:lnTo>
                <a:close/>
              </a:path>
            </a:pathLst>
          </a:custGeom>
          <a:ln w="12700">
            <a:solidFill>
              <a:srgbClr val="000000"/>
            </a:solidFill>
          </a:ln>
        </p:spPr>
        <p:txBody>
          <a:bodyPr wrap="square" lIns="0" tIns="0" rIns="0" bIns="0" rtlCol="0"/>
          <a:lstStyle/>
          <a:p>
            <a:endParaRPr/>
          </a:p>
        </p:txBody>
      </p:sp>
      <p:sp>
        <p:nvSpPr>
          <p:cNvPr id="10" name="object 10"/>
          <p:cNvSpPr txBox="1"/>
          <p:nvPr/>
        </p:nvSpPr>
        <p:spPr>
          <a:xfrm>
            <a:off x="485952" y="1385951"/>
            <a:ext cx="1236980" cy="835025"/>
          </a:xfrm>
          <a:prstGeom prst="rect">
            <a:avLst/>
          </a:prstGeom>
        </p:spPr>
        <p:txBody>
          <a:bodyPr vert="horz" wrap="square" lIns="0" tIns="0" rIns="0" bIns="0" rtlCol="0">
            <a:spAutoFit/>
          </a:bodyPr>
          <a:lstStyle/>
          <a:p>
            <a:pPr marL="12700" marR="5080" indent="1270" algn="ctr">
              <a:lnSpc>
                <a:spcPct val="100000"/>
              </a:lnSpc>
            </a:pPr>
            <a:r>
              <a:rPr sz="1800" b="1" spc="-5" dirty="0">
                <a:latin typeface="Times New Roman"/>
                <a:cs typeface="Times New Roman"/>
              </a:rPr>
              <a:t>Enter </a:t>
            </a:r>
            <a:r>
              <a:rPr sz="1800" b="1" dirty="0">
                <a:latin typeface="Times New Roman"/>
                <a:cs typeface="Times New Roman"/>
              </a:rPr>
              <a:t>a 3  digit </a:t>
            </a:r>
            <a:r>
              <a:rPr sz="1800" b="1" spc="-5" dirty="0">
                <a:latin typeface="Times New Roman"/>
                <a:cs typeface="Times New Roman"/>
              </a:rPr>
              <a:t>alpha-  numeric</a:t>
            </a:r>
            <a:r>
              <a:rPr sz="1800" b="1" spc="-90" dirty="0">
                <a:latin typeface="Times New Roman"/>
                <a:cs typeface="Times New Roman"/>
              </a:rPr>
              <a:t> </a:t>
            </a:r>
            <a:r>
              <a:rPr sz="1800" b="1" dirty="0">
                <a:latin typeface="Times New Roman"/>
                <a:cs typeface="Times New Roman"/>
              </a:rPr>
              <a:t>key</a:t>
            </a:r>
            <a:endParaRPr sz="1800">
              <a:latin typeface="Times New Roman"/>
              <a:cs typeface="Times New Roman"/>
            </a:endParaRPr>
          </a:p>
        </p:txBody>
      </p:sp>
      <p:sp>
        <p:nvSpPr>
          <p:cNvPr id="11" name="object 11"/>
          <p:cNvSpPr/>
          <p:nvPr/>
        </p:nvSpPr>
        <p:spPr>
          <a:xfrm>
            <a:off x="228600" y="5867400"/>
            <a:ext cx="8610600" cy="381000"/>
          </a:xfrm>
          <a:prstGeom prst="rect">
            <a:avLst/>
          </a:prstGeom>
          <a:blipFill>
            <a:blip r:embed="rId4" cstate="print"/>
            <a:stretch>
              <a:fillRect/>
            </a:stretch>
          </a:blipFill>
        </p:spPr>
        <p:txBody>
          <a:bodyPr wrap="square" lIns="0" tIns="0" rIns="0" bIns="0" rtlCol="0"/>
          <a:lstStyle/>
          <a:p>
            <a:endParaRPr/>
          </a:p>
        </p:txBody>
      </p:sp>
      <p:sp>
        <p:nvSpPr>
          <p:cNvPr id="12" name="object 12"/>
          <p:cNvSpPr txBox="1"/>
          <p:nvPr/>
        </p:nvSpPr>
        <p:spPr>
          <a:xfrm>
            <a:off x="228600" y="5867400"/>
            <a:ext cx="8610600" cy="381000"/>
          </a:xfrm>
          <a:prstGeom prst="rect">
            <a:avLst/>
          </a:prstGeom>
          <a:ln w="12700">
            <a:solidFill>
              <a:srgbClr val="000000"/>
            </a:solidFill>
          </a:ln>
        </p:spPr>
        <p:txBody>
          <a:bodyPr vert="horz" wrap="square" lIns="0" tIns="25400" rIns="0" bIns="0" rtlCol="0">
            <a:spAutoFit/>
          </a:bodyPr>
          <a:lstStyle/>
          <a:p>
            <a:pPr marL="610235">
              <a:lnSpc>
                <a:spcPct val="100000"/>
              </a:lnSpc>
              <a:spcBef>
                <a:spcPts val="200"/>
              </a:spcBef>
            </a:pPr>
            <a:r>
              <a:rPr sz="2000" b="1" dirty="0">
                <a:latin typeface="Arial"/>
                <a:cs typeface="Arial"/>
              </a:rPr>
              <a:t>A Sales Group is just a text </a:t>
            </a:r>
            <a:r>
              <a:rPr sz="2000" b="1" spc="-5" dirty="0">
                <a:latin typeface="Arial"/>
                <a:cs typeface="Arial"/>
              </a:rPr>
              <a:t>value </a:t>
            </a:r>
            <a:r>
              <a:rPr sz="2000" b="1" dirty="0">
                <a:latin typeface="Arial"/>
                <a:cs typeface="Arial"/>
              </a:rPr>
              <a:t>and has no controls</a:t>
            </a:r>
            <a:r>
              <a:rPr sz="2000" b="1" spc="-254" dirty="0">
                <a:latin typeface="Arial"/>
                <a:cs typeface="Arial"/>
              </a:rPr>
              <a:t> </a:t>
            </a:r>
            <a:r>
              <a:rPr sz="2000" b="1" dirty="0">
                <a:latin typeface="Arial"/>
                <a:cs typeface="Arial"/>
              </a:rPr>
              <a:t>behind</a:t>
            </a:r>
            <a:endParaRPr sz="2000">
              <a:latin typeface="Arial"/>
              <a:cs typeface="Arial"/>
            </a:endParaRPr>
          </a:p>
        </p:txBody>
      </p:sp>
      <p:sp>
        <p:nvSpPr>
          <p:cNvPr id="14" name="object 14"/>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38</a:t>
            </a:fld>
            <a:endParaRPr sz="1200">
              <a:latin typeface="Symbol"/>
              <a:cs typeface="Symbol"/>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title"/>
          </p:nvPr>
        </p:nvSpPr>
        <p:spPr>
          <a:xfrm>
            <a:off x="339648" y="422528"/>
            <a:ext cx="8524875" cy="492443"/>
          </a:xfrm>
          <a:prstGeom prst="rect">
            <a:avLst/>
          </a:prstGeom>
        </p:spPr>
        <p:txBody>
          <a:bodyPr vert="horz" wrap="square" lIns="0" tIns="0" rIns="0" bIns="0" rtlCol="0">
            <a:spAutoFit/>
          </a:bodyPr>
          <a:lstStyle/>
          <a:p>
            <a:pPr>
              <a:lnSpc>
                <a:spcPct val="100000"/>
              </a:lnSpc>
            </a:pPr>
            <a:r>
              <a:rPr dirty="0"/>
              <a:t>Assign Sales Group to Sales Office</a:t>
            </a:r>
          </a:p>
        </p:txBody>
      </p:sp>
      <p:sp>
        <p:nvSpPr>
          <p:cNvPr id="5" name="object 5"/>
          <p:cNvSpPr/>
          <p:nvPr/>
        </p:nvSpPr>
        <p:spPr>
          <a:xfrm>
            <a:off x="4046220" y="3962400"/>
            <a:ext cx="377951" cy="382524"/>
          </a:xfrm>
          <a:prstGeom prst="rect">
            <a:avLst/>
          </a:prstGeom>
          <a:blipFill>
            <a:blip r:embed="rId2" cstate="print"/>
            <a:stretch>
              <a:fillRect/>
            </a:stretch>
          </a:blipFill>
        </p:spPr>
        <p:txBody>
          <a:bodyPr wrap="square" lIns="0" tIns="0" rIns="0" bIns="0" rtlCol="0"/>
          <a:lstStyle/>
          <a:p>
            <a:endParaRPr/>
          </a:p>
        </p:txBody>
      </p:sp>
      <p:sp>
        <p:nvSpPr>
          <p:cNvPr id="6" name="object 6"/>
          <p:cNvSpPr txBox="1"/>
          <p:nvPr/>
        </p:nvSpPr>
        <p:spPr>
          <a:xfrm>
            <a:off x="4178934" y="4357496"/>
            <a:ext cx="4587875" cy="1354217"/>
          </a:xfrm>
          <a:prstGeom prst="rect">
            <a:avLst/>
          </a:prstGeom>
        </p:spPr>
        <p:txBody>
          <a:bodyPr vert="horz" wrap="square" lIns="0" tIns="0" rIns="0" bIns="0" rtlCol="0">
            <a:spAutoFit/>
          </a:bodyPr>
          <a:lstStyle/>
          <a:p>
            <a:pPr marL="355600" marR="5080" indent="-342900" algn="just">
              <a:lnSpc>
                <a:spcPct val="100000"/>
              </a:lnSpc>
              <a:buClr>
                <a:srgbClr val="00B0F0"/>
              </a:buClr>
              <a:buFont typeface="Wingdings" panose="05000000000000000000" pitchFamily="2" charset="2"/>
              <a:buChar char="§"/>
              <a:tabLst>
                <a:tab pos="355600" algn="l"/>
              </a:tabLst>
            </a:pPr>
            <a:r>
              <a:rPr sz="2200" spc="-5" dirty="0">
                <a:latin typeface="Arial"/>
                <a:cs typeface="Arial"/>
              </a:rPr>
              <a:t>More than </a:t>
            </a:r>
            <a:r>
              <a:rPr sz="2200" spc="-10" dirty="0">
                <a:latin typeface="Arial"/>
                <a:cs typeface="Arial"/>
              </a:rPr>
              <a:t>one </a:t>
            </a:r>
            <a:r>
              <a:rPr sz="2200" spc="-5" dirty="0">
                <a:latin typeface="Arial"/>
                <a:cs typeface="Arial"/>
              </a:rPr>
              <a:t>sales group can be assigned  to </a:t>
            </a:r>
            <a:r>
              <a:rPr sz="2200" spc="-10" dirty="0">
                <a:latin typeface="Arial"/>
                <a:cs typeface="Arial"/>
              </a:rPr>
              <a:t>one </a:t>
            </a:r>
            <a:r>
              <a:rPr sz="2200" spc="-5" dirty="0">
                <a:latin typeface="Arial"/>
                <a:cs typeface="Arial"/>
              </a:rPr>
              <a:t>sales office and </a:t>
            </a:r>
            <a:r>
              <a:rPr sz="2200" spc="-10" dirty="0">
                <a:latin typeface="Arial"/>
                <a:cs typeface="Arial"/>
              </a:rPr>
              <a:t>one </a:t>
            </a:r>
            <a:r>
              <a:rPr sz="2200" spc="-5" dirty="0">
                <a:latin typeface="Arial"/>
                <a:cs typeface="Arial"/>
              </a:rPr>
              <a:t>sales group can  belong to </a:t>
            </a:r>
            <a:r>
              <a:rPr sz="2200" spc="-10" dirty="0">
                <a:latin typeface="Arial"/>
                <a:cs typeface="Arial"/>
              </a:rPr>
              <a:t>several </a:t>
            </a:r>
            <a:r>
              <a:rPr sz="2200" spc="-5" dirty="0">
                <a:latin typeface="Arial"/>
                <a:cs typeface="Arial"/>
              </a:rPr>
              <a:t>sales</a:t>
            </a:r>
            <a:r>
              <a:rPr sz="2200" spc="45" dirty="0">
                <a:latin typeface="Arial"/>
                <a:cs typeface="Arial"/>
              </a:rPr>
              <a:t> </a:t>
            </a:r>
            <a:r>
              <a:rPr sz="2200" spc="-5" dirty="0" smtClean="0">
                <a:latin typeface="Arial"/>
                <a:cs typeface="Arial"/>
              </a:rPr>
              <a:t>offices</a:t>
            </a:r>
            <a:endParaRPr sz="2200" dirty="0">
              <a:latin typeface="Arial"/>
              <a:cs typeface="Arial"/>
            </a:endParaRPr>
          </a:p>
        </p:txBody>
      </p:sp>
      <p:sp>
        <p:nvSpPr>
          <p:cNvPr id="7" name="object 7"/>
          <p:cNvSpPr/>
          <p:nvPr/>
        </p:nvSpPr>
        <p:spPr>
          <a:xfrm>
            <a:off x="6705600" y="1676400"/>
            <a:ext cx="2209800" cy="2209800"/>
          </a:xfrm>
          <a:custGeom>
            <a:avLst/>
            <a:gdLst/>
            <a:ahLst/>
            <a:cxnLst/>
            <a:rect l="l" t="t" r="r" b="b"/>
            <a:pathLst>
              <a:path w="2209800" h="2209800">
                <a:moveTo>
                  <a:pt x="1104900" y="0"/>
                </a:moveTo>
                <a:lnTo>
                  <a:pt x="1056970" y="1020"/>
                </a:lnTo>
                <a:lnTo>
                  <a:pt x="1009562" y="4055"/>
                </a:lnTo>
                <a:lnTo>
                  <a:pt x="962718" y="9062"/>
                </a:lnTo>
                <a:lnTo>
                  <a:pt x="916478" y="16001"/>
                </a:lnTo>
                <a:lnTo>
                  <a:pt x="870883" y="24828"/>
                </a:lnTo>
                <a:lnTo>
                  <a:pt x="825977" y="35504"/>
                </a:lnTo>
                <a:lnTo>
                  <a:pt x="781799" y="47987"/>
                </a:lnTo>
                <a:lnTo>
                  <a:pt x="738392" y="62235"/>
                </a:lnTo>
                <a:lnTo>
                  <a:pt x="695796" y="78207"/>
                </a:lnTo>
                <a:lnTo>
                  <a:pt x="654054" y="95861"/>
                </a:lnTo>
                <a:lnTo>
                  <a:pt x="613207" y="115155"/>
                </a:lnTo>
                <a:lnTo>
                  <a:pt x="573295" y="136050"/>
                </a:lnTo>
                <a:lnTo>
                  <a:pt x="534362" y="158502"/>
                </a:lnTo>
                <a:lnTo>
                  <a:pt x="496447" y="182471"/>
                </a:lnTo>
                <a:lnTo>
                  <a:pt x="459593" y="207914"/>
                </a:lnTo>
                <a:lnTo>
                  <a:pt x="423841" y="234792"/>
                </a:lnTo>
                <a:lnTo>
                  <a:pt x="389232" y="263062"/>
                </a:lnTo>
                <a:lnTo>
                  <a:pt x="355809" y="292682"/>
                </a:lnTo>
                <a:lnTo>
                  <a:pt x="323611" y="323611"/>
                </a:lnTo>
                <a:lnTo>
                  <a:pt x="292682" y="355809"/>
                </a:lnTo>
                <a:lnTo>
                  <a:pt x="263062" y="389232"/>
                </a:lnTo>
                <a:lnTo>
                  <a:pt x="234792" y="423841"/>
                </a:lnTo>
                <a:lnTo>
                  <a:pt x="207914" y="459593"/>
                </a:lnTo>
                <a:lnTo>
                  <a:pt x="182471" y="496447"/>
                </a:lnTo>
                <a:lnTo>
                  <a:pt x="158502" y="534362"/>
                </a:lnTo>
                <a:lnTo>
                  <a:pt x="136050" y="573295"/>
                </a:lnTo>
                <a:lnTo>
                  <a:pt x="115155" y="613207"/>
                </a:lnTo>
                <a:lnTo>
                  <a:pt x="95861" y="654054"/>
                </a:lnTo>
                <a:lnTo>
                  <a:pt x="78207" y="695796"/>
                </a:lnTo>
                <a:lnTo>
                  <a:pt x="62235" y="738392"/>
                </a:lnTo>
                <a:lnTo>
                  <a:pt x="47987" y="781799"/>
                </a:lnTo>
                <a:lnTo>
                  <a:pt x="35504" y="825977"/>
                </a:lnTo>
                <a:lnTo>
                  <a:pt x="24828" y="870883"/>
                </a:lnTo>
                <a:lnTo>
                  <a:pt x="16001" y="916478"/>
                </a:lnTo>
                <a:lnTo>
                  <a:pt x="9062" y="962718"/>
                </a:lnTo>
                <a:lnTo>
                  <a:pt x="4055" y="1009562"/>
                </a:lnTo>
                <a:lnTo>
                  <a:pt x="1020" y="1056970"/>
                </a:lnTo>
                <a:lnTo>
                  <a:pt x="0" y="1104900"/>
                </a:lnTo>
                <a:lnTo>
                  <a:pt x="1020" y="1152829"/>
                </a:lnTo>
                <a:lnTo>
                  <a:pt x="4055" y="1200237"/>
                </a:lnTo>
                <a:lnTo>
                  <a:pt x="9062" y="1247081"/>
                </a:lnTo>
                <a:lnTo>
                  <a:pt x="16001" y="1293321"/>
                </a:lnTo>
                <a:lnTo>
                  <a:pt x="24828" y="1338916"/>
                </a:lnTo>
                <a:lnTo>
                  <a:pt x="35504" y="1383822"/>
                </a:lnTo>
                <a:lnTo>
                  <a:pt x="47987" y="1428000"/>
                </a:lnTo>
                <a:lnTo>
                  <a:pt x="62235" y="1471407"/>
                </a:lnTo>
                <a:lnTo>
                  <a:pt x="78207" y="1514003"/>
                </a:lnTo>
                <a:lnTo>
                  <a:pt x="95861" y="1555745"/>
                </a:lnTo>
                <a:lnTo>
                  <a:pt x="115155" y="1596592"/>
                </a:lnTo>
                <a:lnTo>
                  <a:pt x="136050" y="1636504"/>
                </a:lnTo>
                <a:lnTo>
                  <a:pt x="158502" y="1675437"/>
                </a:lnTo>
                <a:lnTo>
                  <a:pt x="182471" y="1713352"/>
                </a:lnTo>
                <a:lnTo>
                  <a:pt x="207914" y="1750206"/>
                </a:lnTo>
                <a:lnTo>
                  <a:pt x="234792" y="1785958"/>
                </a:lnTo>
                <a:lnTo>
                  <a:pt x="263062" y="1820567"/>
                </a:lnTo>
                <a:lnTo>
                  <a:pt x="292682" y="1853990"/>
                </a:lnTo>
                <a:lnTo>
                  <a:pt x="323611" y="1886188"/>
                </a:lnTo>
                <a:lnTo>
                  <a:pt x="355809" y="1917117"/>
                </a:lnTo>
                <a:lnTo>
                  <a:pt x="389232" y="1946737"/>
                </a:lnTo>
                <a:lnTo>
                  <a:pt x="423841" y="1975007"/>
                </a:lnTo>
                <a:lnTo>
                  <a:pt x="459593" y="2001885"/>
                </a:lnTo>
                <a:lnTo>
                  <a:pt x="496447" y="2027328"/>
                </a:lnTo>
                <a:lnTo>
                  <a:pt x="534362" y="2051297"/>
                </a:lnTo>
                <a:lnTo>
                  <a:pt x="573295" y="2073749"/>
                </a:lnTo>
                <a:lnTo>
                  <a:pt x="613207" y="2094644"/>
                </a:lnTo>
                <a:lnTo>
                  <a:pt x="654054" y="2113938"/>
                </a:lnTo>
                <a:lnTo>
                  <a:pt x="695796" y="2131592"/>
                </a:lnTo>
                <a:lnTo>
                  <a:pt x="738392" y="2147564"/>
                </a:lnTo>
                <a:lnTo>
                  <a:pt x="781799" y="2161812"/>
                </a:lnTo>
                <a:lnTo>
                  <a:pt x="825977" y="2174295"/>
                </a:lnTo>
                <a:lnTo>
                  <a:pt x="870883" y="2184971"/>
                </a:lnTo>
                <a:lnTo>
                  <a:pt x="916478" y="2193798"/>
                </a:lnTo>
                <a:lnTo>
                  <a:pt x="962718" y="2200737"/>
                </a:lnTo>
                <a:lnTo>
                  <a:pt x="1009562" y="2205744"/>
                </a:lnTo>
                <a:lnTo>
                  <a:pt x="1056970" y="2208779"/>
                </a:lnTo>
                <a:lnTo>
                  <a:pt x="1104900" y="2209800"/>
                </a:lnTo>
                <a:lnTo>
                  <a:pt x="1152829" y="2208779"/>
                </a:lnTo>
                <a:lnTo>
                  <a:pt x="1200237" y="2205744"/>
                </a:lnTo>
                <a:lnTo>
                  <a:pt x="1247081" y="2200737"/>
                </a:lnTo>
                <a:lnTo>
                  <a:pt x="1293321" y="2193798"/>
                </a:lnTo>
                <a:lnTo>
                  <a:pt x="1338916" y="2184971"/>
                </a:lnTo>
                <a:lnTo>
                  <a:pt x="1383822" y="2174295"/>
                </a:lnTo>
                <a:lnTo>
                  <a:pt x="1428000" y="2161812"/>
                </a:lnTo>
                <a:lnTo>
                  <a:pt x="1471407" y="2147564"/>
                </a:lnTo>
                <a:lnTo>
                  <a:pt x="1514003" y="2131592"/>
                </a:lnTo>
                <a:lnTo>
                  <a:pt x="1555745" y="2113938"/>
                </a:lnTo>
                <a:lnTo>
                  <a:pt x="1596592" y="2094644"/>
                </a:lnTo>
                <a:lnTo>
                  <a:pt x="1636504" y="2073749"/>
                </a:lnTo>
                <a:lnTo>
                  <a:pt x="1675437" y="2051297"/>
                </a:lnTo>
                <a:lnTo>
                  <a:pt x="1713352" y="2027328"/>
                </a:lnTo>
                <a:lnTo>
                  <a:pt x="1750206" y="2001885"/>
                </a:lnTo>
                <a:lnTo>
                  <a:pt x="1785958" y="1975007"/>
                </a:lnTo>
                <a:lnTo>
                  <a:pt x="1820567" y="1946737"/>
                </a:lnTo>
                <a:lnTo>
                  <a:pt x="1853990" y="1917117"/>
                </a:lnTo>
                <a:lnTo>
                  <a:pt x="1886188" y="1886188"/>
                </a:lnTo>
                <a:lnTo>
                  <a:pt x="1917117" y="1853990"/>
                </a:lnTo>
                <a:lnTo>
                  <a:pt x="1946737" y="1820567"/>
                </a:lnTo>
                <a:lnTo>
                  <a:pt x="1975007" y="1785958"/>
                </a:lnTo>
                <a:lnTo>
                  <a:pt x="2001885" y="1750206"/>
                </a:lnTo>
                <a:lnTo>
                  <a:pt x="2027328" y="1713352"/>
                </a:lnTo>
                <a:lnTo>
                  <a:pt x="2051297" y="1675437"/>
                </a:lnTo>
                <a:lnTo>
                  <a:pt x="2073749" y="1636504"/>
                </a:lnTo>
                <a:lnTo>
                  <a:pt x="2094644" y="1596592"/>
                </a:lnTo>
                <a:lnTo>
                  <a:pt x="2113938" y="1555745"/>
                </a:lnTo>
                <a:lnTo>
                  <a:pt x="2131592" y="1514003"/>
                </a:lnTo>
                <a:lnTo>
                  <a:pt x="2147564" y="1471407"/>
                </a:lnTo>
                <a:lnTo>
                  <a:pt x="2161812" y="1428000"/>
                </a:lnTo>
                <a:lnTo>
                  <a:pt x="2174295" y="1383822"/>
                </a:lnTo>
                <a:lnTo>
                  <a:pt x="2184971" y="1338916"/>
                </a:lnTo>
                <a:lnTo>
                  <a:pt x="2193798" y="1293321"/>
                </a:lnTo>
                <a:lnTo>
                  <a:pt x="2200737" y="1247081"/>
                </a:lnTo>
                <a:lnTo>
                  <a:pt x="2205744" y="1200237"/>
                </a:lnTo>
                <a:lnTo>
                  <a:pt x="2208779" y="1152829"/>
                </a:lnTo>
                <a:lnTo>
                  <a:pt x="2209800" y="1104900"/>
                </a:lnTo>
                <a:lnTo>
                  <a:pt x="2208779" y="1056970"/>
                </a:lnTo>
                <a:lnTo>
                  <a:pt x="2205744" y="1009562"/>
                </a:lnTo>
                <a:lnTo>
                  <a:pt x="2200737" y="962718"/>
                </a:lnTo>
                <a:lnTo>
                  <a:pt x="2193798" y="916478"/>
                </a:lnTo>
                <a:lnTo>
                  <a:pt x="2184971" y="870883"/>
                </a:lnTo>
                <a:lnTo>
                  <a:pt x="2174295" y="825977"/>
                </a:lnTo>
                <a:lnTo>
                  <a:pt x="2161812" y="781799"/>
                </a:lnTo>
                <a:lnTo>
                  <a:pt x="2147564" y="738392"/>
                </a:lnTo>
                <a:lnTo>
                  <a:pt x="2131592" y="695796"/>
                </a:lnTo>
                <a:lnTo>
                  <a:pt x="2113938" y="654054"/>
                </a:lnTo>
                <a:lnTo>
                  <a:pt x="2094644" y="613207"/>
                </a:lnTo>
                <a:lnTo>
                  <a:pt x="2073749" y="573295"/>
                </a:lnTo>
                <a:lnTo>
                  <a:pt x="2051297" y="534362"/>
                </a:lnTo>
                <a:lnTo>
                  <a:pt x="2027328" y="496447"/>
                </a:lnTo>
                <a:lnTo>
                  <a:pt x="2001885" y="459593"/>
                </a:lnTo>
                <a:lnTo>
                  <a:pt x="1975007" y="423841"/>
                </a:lnTo>
                <a:lnTo>
                  <a:pt x="1946737" y="389232"/>
                </a:lnTo>
                <a:lnTo>
                  <a:pt x="1917117" y="355809"/>
                </a:lnTo>
                <a:lnTo>
                  <a:pt x="1886188" y="323611"/>
                </a:lnTo>
                <a:lnTo>
                  <a:pt x="1853990" y="292682"/>
                </a:lnTo>
                <a:lnTo>
                  <a:pt x="1820567" y="263062"/>
                </a:lnTo>
                <a:lnTo>
                  <a:pt x="1785958" y="234792"/>
                </a:lnTo>
                <a:lnTo>
                  <a:pt x="1750206" y="207914"/>
                </a:lnTo>
                <a:lnTo>
                  <a:pt x="1713352" y="182471"/>
                </a:lnTo>
                <a:lnTo>
                  <a:pt x="1675437" y="158502"/>
                </a:lnTo>
                <a:lnTo>
                  <a:pt x="1636504" y="136050"/>
                </a:lnTo>
                <a:lnTo>
                  <a:pt x="1596592" y="115155"/>
                </a:lnTo>
                <a:lnTo>
                  <a:pt x="1555745" y="95861"/>
                </a:lnTo>
                <a:lnTo>
                  <a:pt x="1514003" y="78207"/>
                </a:lnTo>
                <a:lnTo>
                  <a:pt x="1471407" y="62235"/>
                </a:lnTo>
                <a:lnTo>
                  <a:pt x="1428000" y="47987"/>
                </a:lnTo>
                <a:lnTo>
                  <a:pt x="1383822" y="35504"/>
                </a:lnTo>
                <a:lnTo>
                  <a:pt x="1338916" y="24828"/>
                </a:lnTo>
                <a:lnTo>
                  <a:pt x="1293321" y="16001"/>
                </a:lnTo>
                <a:lnTo>
                  <a:pt x="1247081" y="9062"/>
                </a:lnTo>
                <a:lnTo>
                  <a:pt x="1200237" y="4055"/>
                </a:lnTo>
                <a:lnTo>
                  <a:pt x="1152829" y="1020"/>
                </a:lnTo>
                <a:lnTo>
                  <a:pt x="1104900" y="0"/>
                </a:lnTo>
                <a:close/>
              </a:path>
            </a:pathLst>
          </a:custGeom>
          <a:solidFill>
            <a:srgbClr val="AED6FF"/>
          </a:solidFill>
        </p:spPr>
        <p:txBody>
          <a:bodyPr wrap="square" lIns="0" tIns="0" rIns="0" bIns="0" rtlCol="0"/>
          <a:lstStyle/>
          <a:p>
            <a:endParaRPr/>
          </a:p>
        </p:txBody>
      </p:sp>
      <p:sp>
        <p:nvSpPr>
          <p:cNvPr id="8" name="object 8"/>
          <p:cNvSpPr/>
          <p:nvPr/>
        </p:nvSpPr>
        <p:spPr>
          <a:xfrm>
            <a:off x="6705600" y="1676400"/>
            <a:ext cx="2209800" cy="2209800"/>
          </a:xfrm>
          <a:custGeom>
            <a:avLst/>
            <a:gdLst/>
            <a:ahLst/>
            <a:cxnLst/>
            <a:rect l="l" t="t" r="r" b="b"/>
            <a:pathLst>
              <a:path w="2209800" h="2209800">
                <a:moveTo>
                  <a:pt x="0" y="1104900"/>
                </a:moveTo>
                <a:lnTo>
                  <a:pt x="1020" y="1056970"/>
                </a:lnTo>
                <a:lnTo>
                  <a:pt x="4055" y="1009562"/>
                </a:lnTo>
                <a:lnTo>
                  <a:pt x="9062" y="962718"/>
                </a:lnTo>
                <a:lnTo>
                  <a:pt x="16001" y="916478"/>
                </a:lnTo>
                <a:lnTo>
                  <a:pt x="24828" y="870883"/>
                </a:lnTo>
                <a:lnTo>
                  <a:pt x="35504" y="825977"/>
                </a:lnTo>
                <a:lnTo>
                  <a:pt x="47987" y="781799"/>
                </a:lnTo>
                <a:lnTo>
                  <a:pt x="62235" y="738392"/>
                </a:lnTo>
                <a:lnTo>
                  <a:pt x="78207" y="695796"/>
                </a:lnTo>
                <a:lnTo>
                  <a:pt x="95861" y="654054"/>
                </a:lnTo>
                <a:lnTo>
                  <a:pt x="115155" y="613207"/>
                </a:lnTo>
                <a:lnTo>
                  <a:pt x="136050" y="573295"/>
                </a:lnTo>
                <a:lnTo>
                  <a:pt x="158502" y="534362"/>
                </a:lnTo>
                <a:lnTo>
                  <a:pt x="182471" y="496447"/>
                </a:lnTo>
                <a:lnTo>
                  <a:pt x="207914" y="459593"/>
                </a:lnTo>
                <a:lnTo>
                  <a:pt x="234792" y="423841"/>
                </a:lnTo>
                <a:lnTo>
                  <a:pt x="263062" y="389232"/>
                </a:lnTo>
                <a:lnTo>
                  <a:pt x="292682" y="355809"/>
                </a:lnTo>
                <a:lnTo>
                  <a:pt x="323611" y="323611"/>
                </a:lnTo>
                <a:lnTo>
                  <a:pt x="355809" y="292682"/>
                </a:lnTo>
                <a:lnTo>
                  <a:pt x="389232" y="263062"/>
                </a:lnTo>
                <a:lnTo>
                  <a:pt x="423841" y="234792"/>
                </a:lnTo>
                <a:lnTo>
                  <a:pt x="459593" y="207914"/>
                </a:lnTo>
                <a:lnTo>
                  <a:pt x="496447" y="182471"/>
                </a:lnTo>
                <a:lnTo>
                  <a:pt x="534362" y="158502"/>
                </a:lnTo>
                <a:lnTo>
                  <a:pt x="573295" y="136050"/>
                </a:lnTo>
                <a:lnTo>
                  <a:pt x="613207" y="115155"/>
                </a:lnTo>
                <a:lnTo>
                  <a:pt x="654054" y="95861"/>
                </a:lnTo>
                <a:lnTo>
                  <a:pt x="695796" y="78207"/>
                </a:lnTo>
                <a:lnTo>
                  <a:pt x="738392" y="62235"/>
                </a:lnTo>
                <a:lnTo>
                  <a:pt x="781799" y="47987"/>
                </a:lnTo>
                <a:lnTo>
                  <a:pt x="825977" y="35504"/>
                </a:lnTo>
                <a:lnTo>
                  <a:pt x="870883" y="24828"/>
                </a:lnTo>
                <a:lnTo>
                  <a:pt x="916478" y="16001"/>
                </a:lnTo>
                <a:lnTo>
                  <a:pt x="962718" y="9062"/>
                </a:lnTo>
                <a:lnTo>
                  <a:pt x="1009562" y="4055"/>
                </a:lnTo>
                <a:lnTo>
                  <a:pt x="1056970" y="1020"/>
                </a:lnTo>
                <a:lnTo>
                  <a:pt x="1104900" y="0"/>
                </a:lnTo>
                <a:lnTo>
                  <a:pt x="1152829" y="1020"/>
                </a:lnTo>
                <a:lnTo>
                  <a:pt x="1200237" y="4055"/>
                </a:lnTo>
                <a:lnTo>
                  <a:pt x="1247081" y="9062"/>
                </a:lnTo>
                <a:lnTo>
                  <a:pt x="1293321" y="16001"/>
                </a:lnTo>
                <a:lnTo>
                  <a:pt x="1338916" y="24828"/>
                </a:lnTo>
                <a:lnTo>
                  <a:pt x="1383822" y="35504"/>
                </a:lnTo>
                <a:lnTo>
                  <a:pt x="1428000" y="47987"/>
                </a:lnTo>
                <a:lnTo>
                  <a:pt x="1471407" y="62235"/>
                </a:lnTo>
                <a:lnTo>
                  <a:pt x="1514003" y="78207"/>
                </a:lnTo>
                <a:lnTo>
                  <a:pt x="1555745" y="95861"/>
                </a:lnTo>
                <a:lnTo>
                  <a:pt x="1596592" y="115155"/>
                </a:lnTo>
                <a:lnTo>
                  <a:pt x="1636504" y="136050"/>
                </a:lnTo>
                <a:lnTo>
                  <a:pt x="1675437" y="158502"/>
                </a:lnTo>
                <a:lnTo>
                  <a:pt x="1713352" y="182471"/>
                </a:lnTo>
                <a:lnTo>
                  <a:pt x="1750206" y="207914"/>
                </a:lnTo>
                <a:lnTo>
                  <a:pt x="1785958" y="234792"/>
                </a:lnTo>
                <a:lnTo>
                  <a:pt x="1820567" y="263062"/>
                </a:lnTo>
                <a:lnTo>
                  <a:pt x="1853990" y="292682"/>
                </a:lnTo>
                <a:lnTo>
                  <a:pt x="1886188" y="323611"/>
                </a:lnTo>
                <a:lnTo>
                  <a:pt x="1917117" y="355809"/>
                </a:lnTo>
                <a:lnTo>
                  <a:pt x="1946737" y="389232"/>
                </a:lnTo>
                <a:lnTo>
                  <a:pt x="1975007" y="423841"/>
                </a:lnTo>
                <a:lnTo>
                  <a:pt x="2001885" y="459593"/>
                </a:lnTo>
                <a:lnTo>
                  <a:pt x="2027328" y="496447"/>
                </a:lnTo>
                <a:lnTo>
                  <a:pt x="2051297" y="534362"/>
                </a:lnTo>
                <a:lnTo>
                  <a:pt x="2073749" y="573295"/>
                </a:lnTo>
                <a:lnTo>
                  <a:pt x="2094644" y="613207"/>
                </a:lnTo>
                <a:lnTo>
                  <a:pt x="2113938" y="654054"/>
                </a:lnTo>
                <a:lnTo>
                  <a:pt x="2131592" y="695796"/>
                </a:lnTo>
                <a:lnTo>
                  <a:pt x="2147564" y="738392"/>
                </a:lnTo>
                <a:lnTo>
                  <a:pt x="2161812" y="781799"/>
                </a:lnTo>
                <a:lnTo>
                  <a:pt x="2174295" y="825977"/>
                </a:lnTo>
                <a:lnTo>
                  <a:pt x="2184971" y="870883"/>
                </a:lnTo>
                <a:lnTo>
                  <a:pt x="2193798" y="916478"/>
                </a:lnTo>
                <a:lnTo>
                  <a:pt x="2200737" y="962718"/>
                </a:lnTo>
                <a:lnTo>
                  <a:pt x="2205744" y="1009562"/>
                </a:lnTo>
                <a:lnTo>
                  <a:pt x="2208779" y="1056970"/>
                </a:lnTo>
                <a:lnTo>
                  <a:pt x="2209800" y="1104900"/>
                </a:lnTo>
                <a:lnTo>
                  <a:pt x="2208779" y="1152829"/>
                </a:lnTo>
                <a:lnTo>
                  <a:pt x="2205744" y="1200237"/>
                </a:lnTo>
                <a:lnTo>
                  <a:pt x="2200737" y="1247081"/>
                </a:lnTo>
                <a:lnTo>
                  <a:pt x="2193798" y="1293321"/>
                </a:lnTo>
                <a:lnTo>
                  <a:pt x="2184971" y="1338916"/>
                </a:lnTo>
                <a:lnTo>
                  <a:pt x="2174295" y="1383822"/>
                </a:lnTo>
                <a:lnTo>
                  <a:pt x="2161812" y="1428000"/>
                </a:lnTo>
                <a:lnTo>
                  <a:pt x="2147564" y="1471407"/>
                </a:lnTo>
                <a:lnTo>
                  <a:pt x="2131592" y="1514003"/>
                </a:lnTo>
                <a:lnTo>
                  <a:pt x="2113938" y="1555745"/>
                </a:lnTo>
                <a:lnTo>
                  <a:pt x="2094644" y="1596592"/>
                </a:lnTo>
                <a:lnTo>
                  <a:pt x="2073749" y="1636504"/>
                </a:lnTo>
                <a:lnTo>
                  <a:pt x="2051297" y="1675437"/>
                </a:lnTo>
                <a:lnTo>
                  <a:pt x="2027328" y="1713352"/>
                </a:lnTo>
                <a:lnTo>
                  <a:pt x="2001885" y="1750206"/>
                </a:lnTo>
                <a:lnTo>
                  <a:pt x="1975007" y="1785958"/>
                </a:lnTo>
                <a:lnTo>
                  <a:pt x="1946737" y="1820567"/>
                </a:lnTo>
                <a:lnTo>
                  <a:pt x="1917117" y="1853990"/>
                </a:lnTo>
                <a:lnTo>
                  <a:pt x="1886188" y="1886188"/>
                </a:lnTo>
                <a:lnTo>
                  <a:pt x="1853990" y="1917117"/>
                </a:lnTo>
                <a:lnTo>
                  <a:pt x="1820567" y="1946737"/>
                </a:lnTo>
                <a:lnTo>
                  <a:pt x="1785958" y="1975007"/>
                </a:lnTo>
                <a:lnTo>
                  <a:pt x="1750206" y="2001885"/>
                </a:lnTo>
                <a:lnTo>
                  <a:pt x="1713352" y="2027328"/>
                </a:lnTo>
                <a:lnTo>
                  <a:pt x="1675437" y="2051297"/>
                </a:lnTo>
                <a:lnTo>
                  <a:pt x="1636504" y="2073749"/>
                </a:lnTo>
                <a:lnTo>
                  <a:pt x="1596592" y="2094644"/>
                </a:lnTo>
                <a:lnTo>
                  <a:pt x="1555745" y="2113938"/>
                </a:lnTo>
                <a:lnTo>
                  <a:pt x="1514003" y="2131592"/>
                </a:lnTo>
                <a:lnTo>
                  <a:pt x="1471407" y="2147564"/>
                </a:lnTo>
                <a:lnTo>
                  <a:pt x="1428000" y="2161812"/>
                </a:lnTo>
                <a:lnTo>
                  <a:pt x="1383822" y="2174295"/>
                </a:lnTo>
                <a:lnTo>
                  <a:pt x="1338916" y="2184971"/>
                </a:lnTo>
                <a:lnTo>
                  <a:pt x="1293321" y="2193798"/>
                </a:lnTo>
                <a:lnTo>
                  <a:pt x="1247081" y="2200737"/>
                </a:lnTo>
                <a:lnTo>
                  <a:pt x="1200237" y="2205744"/>
                </a:lnTo>
                <a:lnTo>
                  <a:pt x="1152829" y="2208779"/>
                </a:lnTo>
                <a:lnTo>
                  <a:pt x="1104900" y="2209800"/>
                </a:lnTo>
                <a:lnTo>
                  <a:pt x="1056970" y="2208779"/>
                </a:lnTo>
                <a:lnTo>
                  <a:pt x="1009562" y="2205744"/>
                </a:lnTo>
                <a:lnTo>
                  <a:pt x="962718" y="2200737"/>
                </a:lnTo>
                <a:lnTo>
                  <a:pt x="916478" y="2193798"/>
                </a:lnTo>
                <a:lnTo>
                  <a:pt x="870883" y="2184971"/>
                </a:lnTo>
                <a:lnTo>
                  <a:pt x="825977" y="2174295"/>
                </a:lnTo>
                <a:lnTo>
                  <a:pt x="781799" y="2161812"/>
                </a:lnTo>
                <a:lnTo>
                  <a:pt x="738392" y="2147564"/>
                </a:lnTo>
                <a:lnTo>
                  <a:pt x="695796" y="2131592"/>
                </a:lnTo>
                <a:lnTo>
                  <a:pt x="654054" y="2113938"/>
                </a:lnTo>
                <a:lnTo>
                  <a:pt x="613207" y="2094644"/>
                </a:lnTo>
                <a:lnTo>
                  <a:pt x="573295" y="2073749"/>
                </a:lnTo>
                <a:lnTo>
                  <a:pt x="534362" y="2051297"/>
                </a:lnTo>
                <a:lnTo>
                  <a:pt x="496447" y="2027328"/>
                </a:lnTo>
                <a:lnTo>
                  <a:pt x="459593" y="2001885"/>
                </a:lnTo>
                <a:lnTo>
                  <a:pt x="423841" y="1975007"/>
                </a:lnTo>
                <a:lnTo>
                  <a:pt x="389232" y="1946737"/>
                </a:lnTo>
                <a:lnTo>
                  <a:pt x="355809" y="1917117"/>
                </a:lnTo>
                <a:lnTo>
                  <a:pt x="323611" y="1886188"/>
                </a:lnTo>
                <a:lnTo>
                  <a:pt x="292682" y="1853990"/>
                </a:lnTo>
                <a:lnTo>
                  <a:pt x="263062" y="1820567"/>
                </a:lnTo>
                <a:lnTo>
                  <a:pt x="234792" y="1785958"/>
                </a:lnTo>
                <a:lnTo>
                  <a:pt x="207914" y="1750206"/>
                </a:lnTo>
                <a:lnTo>
                  <a:pt x="182471" y="1713352"/>
                </a:lnTo>
                <a:lnTo>
                  <a:pt x="158502" y="1675437"/>
                </a:lnTo>
                <a:lnTo>
                  <a:pt x="136050" y="1636504"/>
                </a:lnTo>
                <a:lnTo>
                  <a:pt x="115155" y="1596592"/>
                </a:lnTo>
                <a:lnTo>
                  <a:pt x="95861" y="1555745"/>
                </a:lnTo>
                <a:lnTo>
                  <a:pt x="78207" y="1514003"/>
                </a:lnTo>
                <a:lnTo>
                  <a:pt x="62235" y="1471407"/>
                </a:lnTo>
                <a:lnTo>
                  <a:pt x="47987" y="1428000"/>
                </a:lnTo>
                <a:lnTo>
                  <a:pt x="35504" y="1383822"/>
                </a:lnTo>
                <a:lnTo>
                  <a:pt x="24828" y="1338916"/>
                </a:lnTo>
                <a:lnTo>
                  <a:pt x="16001" y="1293321"/>
                </a:lnTo>
                <a:lnTo>
                  <a:pt x="9062" y="1247081"/>
                </a:lnTo>
                <a:lnTo>
                  <a:pt x="4055" y="1200237"/>
                </a:lnTo>
                <a:lnTo>
                  <a:pt x="1020" y="1152829"/>
                </a:lnTo>
                <a:lnTo>
                  <a:pt x="0" y="1104900"/>
                </a:lnTo>
                <a:close/>
              </a:path>
            </a:pathLst>
          </a:custGeom>
          <a:ln w="88900">
            <a:solidFill>
              <a:srgbClr val="000080"/>
            </a:solidFill>
          </a:ln>
        </p:spPr>
        <p:txBody>
          <a:bodyPr wrap="square" lIns="0" tIns="0" rIns="0" bIns="0" rtlCol="0"/>
          <a:lstStyle/>
          <a:p>
            <a:endParaRPr/>
          </a:p>
        </p:txBody>
      </p:sp>
      <p:sp>
        <p:nvSpPr>
          <p:cNvPr id="9" name="object 9"/>
          <p:cNvSpPr/>
          <p:nvPr/>
        </p:nvSpPr>
        <p:spPr>
          <a:xfrm>
            <a:off x="7216140" y="1854580"/>
            <a:ext cx="1138427" cy="641604"/>
          </a:xfrm>
          <a:prstGeom prst="rect">
            <a:avLst/>
          </a:prstGeom>
          <a:blipFill>
            <a:blip r:embed="rId3" cstate="print"/>
            <a:stretch>
              <a:fillRect/>
            </a:stretch>
          </a:blipFill>
        </p:spPr>
        <p:txBody>
          <a:bodyPr wrap="square" lIns="0" tIns="0" rIns="0" bIns="0" rtlCol="0"/>
          <a:lstStyle/>
          <a:p>
            <a:endParaRPr/>
          </a:p>
        </p:txBody>
      </p:sp>
      <p:sp>
        <p:nvSpPr>
          <p:cNvPr id="10" name="object 10"/>
          <p:cNvSpPr/>
          <p:nvPr/>
        </p:nvSpPr>
        <p:spPr>
          <a:xfrm>
            <a:off x="7216140" y="1854580"/>
            <a:ext cx="1138555" cy="641985"/>
          </a:xfrm>
          <a:custGeom>
            <a:avLst/>
            <a:gdLst/>
            <a:ahLst/>
            <a:cxnLst/>
            <a:rect l="l" t="t" r="r" b="b"/>
            <a:pathLst>
              <a:path w="1138554" h="641985">
                <a:moveTo>
                  <a:pt x="0" y="320802"/>
                </a:moveTo>
                <a:lnTo>
                  <a:pt x="13130" y="251985"/>
                </a:lnTo>
                <a:lnTo>
                  <a:pt x="50669" y="188310"/>
                </a:lnTo>
                <a:lnTo>
                  <a:pt x="77724" y="158891"/>
                </a:lnTo>
                <a:lnTo>
                  <a:pt x="109837" y="131344"/>
                </a:lnTo>
                <a:lnTo>
                  <a:pt x="146663" y="105866"/>
                </a:lnTo>
                <a:lnTo>
                  <a:pt x="187854" y="82652"/>
                </a:lnTo>
                <a:lnTo>
                  <a:pt x="233062" y="61898"/>
                </a:lnTo>
                <a:lnTo>
                  <a:pt x="281939" y="43800"/>
                </a:lnTo>
                <a:lnTo>
                  <a:pt x="334140" y="28554"/>
                </a:lnTo>
                <a:lnTo>
                  <a:pt x="389314" y="16355"/>
                </a:lnTo>
                <a:lnTo>
                  <a:pt x="447117" y="7399"/>
                </a:lnTo>
                <a:lnTo>
                  <a:pt x="507199" y="1882"/>
                </a:lnTo>
                <a:lnTo>
                  <a:pt x="569213" y="0"/>
                </a:lnTo>
                <a:lnTo>
                  <a:pt x="631250" y="1882"/>
                </a:lnTo>
                <a:lnTo>
                  <a:pt x="691348" y="7399"/>
                </a:lnTo>
                <a:lnTo>
                  <a:pt x="749161" y="16355"/>
                </a:lnTo>
                <a:lnTo>
                  <a:pt x="804342" y="28554"/>
                </a:lnTo>
                <a:lnTo>
                  <a:pt x="856544" y="43800"/>
                </a:lnTo>
                <a:lnTo>
                  <a:pt x="905420" y="61898"/>
                </a:lnTo>
                <a:lnTo>
                  <a:pt x="950624" y="82652"/>
                </a:lnTo>
                <a:lnTo>
                  <a:pt x="991808" y="105866"/>
                </a:lnTo>
                <a:lnTo>
                  <a:pt x="1028626" y="131344"/>
                </a:lnTo>
                <a:lnTo>
                  <a:pt x="1060732" y="158891"/>
                </a:lnTo>
                <a:lnTo>
                  <a:pt x="1087777" y="188310"/>
                </a:lnTo>
                <a:lnTo>
                  <a:pt x="1125303" y="251985"/>
                </a:lnTo>
                <a:lnTo>
                  <a:pt x="1138427" y="320802"/>
                </a:lnTo>
                <a:lnTo>
                  <a:pt x="1135088" y="355755"/>
                </a:lnTo>
                <a:lnTo>
                  <a:pt x="1125303" y="389618"/>
                </a:lnTo>
                <a:lnTo>
                  <a:pt x="1087777" y="453293"/>
                </a:lnTo>
                <a:lnTo>
                  <a:pt x="1060732" y="482712"/>
                </a:lnTo>
                <a:lnTo>
                  <a:pt x="1028626" y="510259"/>
                </a:lnTo>
                <a:lnTo>
                  <a:pt x="991808" y="535737"/>
                </a:lnTo>
                <a:lnTo>
                  <a:pt x="950624" y="558951"/>
                </a:lnTo>
                <a:lnTo>
                  <a:pt x="905420" y="579705"/>
                </a:lnTo>
                <a:lnTo>
                  <a:pt x="856544" y="597803"/>
                </a:lnTo>
                <a:lnTo>
                  <a:pt x="804342" y="613049"/>
                </a:lnTo>
                <a:lnTo>
                  <a:pt x="749161" y="625248"/>
                </a:lnTo>
                <a:lnTo>
                  <a:pt x="691348" y="634204"/>
                </a:lnTo>
                <a:lnTo>
                  <a:pt x="631250" y="639721"/>
                </a:lnTo>
                <a:lnTo>
                  <a:pt x="569213" y="641604"/>
                </a:lnTo>
                <a:lnTo>
                  <a:pt x="507199" y="639721"/>
                </a:lnTo>
                <a:lnTo>
                  <a:pt x="447117" y="634204"/>
                </a:lnTo>
                <a:lnTo>
                  <a:pt x="389314" y="625248"/>
                </a:lnTo>
                <a:lnTo>
                  <a:pt x="334140" y="613049"/>
                </a:lnTo>
                <a:lnTo>
                  <a:pt x="281939" y="597803"/>
                </a:lnTo>
                <a:lnTo>
                  <a:pt x="233062" y="579705"/>
                </a:lnTo>
                <a:lnTo>
                  <a:pt x="187854" y="558951"/>
                </a:lnTo>
                <a:lnTo>
                  <a:pt x="146663" y="535737"/>
                </a:lnTo>
                <a:lnTo>
                  <a:pt x="109837" y="510259"/>
                </a:lnTo>
                <a:lnTo>
                  <a:pt x="77724" y="482712"/>
                </a:lnTo>
                <a:lnTo>
                  <a:pt x="50669" y="453293"/>
                </a:lnTo>
                <a:lnTo>
                  <a:pt x="13130" y="389618"/>
                </a:lnTo>
                <a:lnTo>
                  <a:pt x="0" y="320802"/>
                </a:lnTo>
                <a:close/>
              </a:path>
            </a:pathLst>
          </a:custGeom>
          <a:ln w="12699">
            <a:solidFill>
              <a:srgbClr val="DBFFC8"/>
            </a:solidFill>
          </a:ln>
        </p:spPr>
        <p:txBody>
          <a:bodyPr wrap="square" lIns="0" tIns="0" rIns="0" bIns="0" rtlCol="0"/>
          <a:lstStyle/>
          <a:p>
            <a:endParaRPr/>
          </a:p>
        </p:txBody>
      </p:sp>
      <p:sp>
        <p:nvSpPr>
          <p:cNvPr id="11" name="object 11"/>
          <p:cNvSpPr txBox="1"/>
          <p:nvPr/>
        </p:nvSpPr>
        <p:spPr>
          <a:xfrm>
            <a:off x="7452486" y="1893696"/>
            <a:ext cx="669925" cy="560705"/>
          </a:xfrm>
          <a:prstGeom prst="rect">
            <a:avLst/>
          </a:prstGeom>
        </p:spPr>
        <p:txBody>
          <a:bodyPr vert="horz" wrap="square" lIns="0" tIns="0" rIns="0" bIns="0" rtlCol="0">
            <a:spAutoFit/>
          </a:bodyPr>
          <a:lstStyle/>
          <a:p>
            <a:pPr marL="12700" marR="5080" indent="73025">
              <a:lnSpc>
                <a:spcPct val="100000"/>
              </a:lnSpc>
            </a:pPr>
            <a:r>
              <a:rPr sz="1800" b="1" spc="-5" dirty="0">
                <a:latin typeface="Times New Roman"/>
                <a:cs typeface="Times New Roman"/>
              </a:rPr>
              <a:t>Sales  </a:t>
            </a:r>
            <a:r>
              <a:rPr sz="1800" b="1" dirty="0">
                <a:latin typeface="Times New Roman"/>
                <a:cs typeface="Times New Roman"/>
              </a:rPr>
              <a:t>G</a:t>
            </a:r>
            <a:r>
              <a:rPr sz="1800" b="1" spc="-30" dirty="0">
                <a:latin typeface="Times New Roman"/>
                <a:cs typeface="Times New Roman"/>
              </a:rPr>
              <a:t>r</a:t>
            </a:r>
            <a:r>
              <a:rPr sz="1800" b="1" spc="-5" dirty="0">
                <a:latin typeface="Times New Roman"/>
                <a:cs typeface="Times New Roman"/>
              </a:rPr>
              <a:t>oup</a:t>
            </a:r>
            <a:endParaRPr sz="1800">
              <a:latin typeface="Times New Roman"/>
              <a:cs typeface="Times New Roman"/>
            </a:endParaRPr>
          </a:p>
        </p:txBody>
      </p:sp>
      <p:sp>
        <p:nvSpPr>
          <p:cNvPr id="12" name="object 12"/>
          <p:cNvSpPr/>
          <p:nvPr/>
        </p:nvSpPr>
        <p:spPr>
          <a:xfrm>
            <a:off x="6973443" y="2995167"/>
            <a:ext cx="669671" cy="570230"/>
          </a:xfrm>
          <a:prstGeom prst="rect">
            <a:avLst/>
          </a:prstGeom>
          <a:blipFill>
            <a:blip r:embed="rId4" cstate="print"/>
            <a:stretch>
              <a:fillRect/>
            </a:stretch>
          </a:blipFill>
        </p:spPr>
        <p:txBody>
          <a:bodyPr wrap="square" lIns="0" tIns="0" rIns="0" bIns="0" rtlCol="0"/>
          <a:lstStyle/>
          <a:p>
            <a:endParaRPr/>
          </a:p>
        </p:txBody>
      </p:sp>
      <p:sp>
        <p:nvSpPr>
          <p:cNvPr id="13" name="object 13"/>
          <p:cNvSpPr/>
          <p:nvPr/>
        </p:nvSpPr>
        <p:spPr>
          <a:xfrm>
            <a:off x="6973443" y="2995167"/>
            <a:ext cx="669925" cy="570230"/>
          </a:xfrm>
          <a:custGeom>
            <a:avLst/>
            <a:gdLst/>
            <a:ahLst/>
            <a:cxnLst/>
            <a:rect l="l" t="t" r="r" b="b"/>
            <a:pathLst>
              <a:path w="669925" h="570229">
                <a:moveTo>
                  <a:pt x="0" y="285115"/>
                </a:moveTo>
                <a:lnTo>
                  <a:pt x="3629" y="242979"/>
                </a:lnTo>
                <a:lnTo>
                  <a:pt x="14172" y="202764"/>
                </a:lnTo>
                <a:lnTo>
                  <a:pt x="31110" y="164911"/>
                </a:lnTo>
                <a:lnTo>
                  <a:pt x="53928" y="129860"/>
                </a:lnTo>
                <a:lnTo>
                  <a:pt x="82106" y="98052"/>
                </a:lnTo>
                <a:lnTo>
                  <a:pt x="115127" y="69928"/>
                </a:lnTo>
                <a:lnTo>
                  <a:pt x="152475" y="45929"/>
                </a:lnTo>
                <a:lnTo>
                  <a:pt x="193630" y="26496"/>
                </a:lnTo>
                <a:lnTo>
                  <a:pt x="238077" y="12070"/>
                </a:lnTo>
                <a:lnTo>
                  <a:pt x="285296" y="3091"/>
                </a:lnTo>
                <a:lnTo>
                  <a:pt x="334772" y="0"/>
                </a:lnTo>
                <a:lnTo>
                  <a:pt x="384250" y="3091"/>
                </a:lnTo>
                <a:lnTo>
                  <a:pt x="431477" y="12070"/>
                </a:lnTo>
                <a:lnTo>
                  <a:pt x="475936" y="26496"/>
                </a:lnTo>
                <a:lnTo>
                  <a:pt x="517106" y="45929"/>
                </a:lnTo>
                <a:lnTo>
                  <a:pt x="554471" y="69928"/>
                </a:lnTo>
                <a:lnTo>
                  <a:pt x="587509" y="98052"/>
                </a:lnTo>
                <a:lnTo>
                  <a:pt x="615704" y="129860"/>
                </a:lnTo>
                <a:lnTo>
                  <a:pt x="638536" y="164911"/>
                </a:lnTo>
                <a:lnTo>
                  <a:pt x="655487" y="202764"/>
                </a:lnTo>
                <a:lnTo>
                  <a:pt x="666038" y="242979"/>
                </a:lnTo>
                <a:lnTo>
                  <a:pt x="669671" y="285115"/>
                </a:lnTo>
                <a:lnTo>
                  <a:pt x="666038" y="327250"/>
                </a:lnTo>
                <a:lnTo>
                  <a:pt x="655487" y="367465"/>
                </a:lnTo>
                <a:lnTo>
                  <a:pt x="638536" y="405318"/>
                </a:lnTo>
                <a:lnTo>
                  <a:pt x="615704" y="440369"/>
                </a:lnTo>
                <a:lnTo>
                  <a:pt x="587509" y="472177"/>
                </a:lnTo>
                <a:lnTo>
                  <a:pt x="554471" y="500301"/>
                </a:lnTo>
                <a:lnTo>
                  <a:pt x="517106" y="524300"/>
                </a:lnTo>
                <a:lnTo>
                  <a:pt x="475936" y="543733"/>
                </a:lnTo>
                <a:lnTo>
                  <a:pt x="431477" y="558159"/>
                </a:lnTo>
                <a:lnTo>
                  <a:pt x="384250" y="567138"/>
                </a:lnTo>
                <a:lnTo>
                  <a:pt x="334772" y="570230"/>
                </a:lnTo>
                <a:lnTo>
                  <a:pt x="285296" y="567138"/>
                </a:lnTo>
                <a:lnTo>
                  <a:pt x="238077" y="558159"/>
                </a:lnTo>
                <a:lnTo>
                  <a:pt x="193630" y="543733"/>
                </a:lnTo>
                <a:lnTo>
                  <a:pt x="152475" y="524300"/>
                </a:lnTo>
                <a:lnTo>
                  <a:pt x="115127" y="500301"/>
                </a:lnTo>
                <a:lnTo>
                  <a:pt x="82106" y="472177"/>
                </a:lnTo>
                <a:lnTo>
                  <a:pt x="53928" y="440369"/>
                </a:lnTo>
                <a:lnTo>
                  <a:pt x="31110" y="405318"/>
                </a:lnTo>
                <a:lnTo>
                  <a:pt x="14172" y="367465"/>
                </a:lnTo>
                <a:lnTo>
                  <a:pt x="3629" y="327250"/>
                </a:lnTo>
                <a:lnTo>
                  <a:pt x="0" y="285115"/>
                </a:lnTo>
                <a:close/>
              </a:path>
            </a:pathLst>
          </a:custGeom>
          <a:ln w="12700">
            <a:solidFill>
              <a:srgbClr val="FFFF00"/>
            </a:solidFill>
          </a:ln>
        </p:spPr>
        <p:txBody>
          <a:bodyPr wrap="square" lIns="0" tIns="0" rIns="0" bIns="0" rtlCol="0"/>
          <a:lstStyle/>
          <a:p>
            <a:endParaRPr/>
          </a:p>
        </p:txBody>
      </p:sp>
      <p:sp>
        <p:nvSpPr>
          <p:cNvPr id="14" name="object 14"/>
          <p:cNvSpPr txBox="1"/>
          <p:nvPr/>
        </p:nvSpPr>
        <p:spPr>
          <a:xfrm>
            <a:off x="7073645" y="3061970"/>
            <a:ext cx="473075" cy="438784"/>
          </a:xfrm>
          <a:prstGeom prst="rect">
            <a:avLst/>
          </a:prstGeom>
        </p:spPr>
        <p:txBody>
          <a:bodyPr vert="horz" wrap="square" lIns="0" tIns="0" rIns="0" bIns="0" rtlCol="0">
            <a:spAutoFit/>
          </a:bodyPr>
          <a:lstStyle/>
          <a:p>
            <a:pPr marL="12700" marR="5080" indent="28575">
              <a:lnSpc>
                <a:spcPct val="100000"/>
              </a:lnSpc>
            </a:pPr>
            <a:r>
              <a:rPr sz="1400" b="1" dirty="0">
                <a:latin typeface="Times New Roman"/>
                <a:cs typeface="Times New Roman"/>
              </a:rPr>
              <a:t>Sales  Grp</a:t>
            </a:r>
            <a:r>
              <a:rPr sz="1400" b="1" spc="-125" dirty="0">
                <a:latin typeface="Times New Roman"/>
                <a:cs typeface="Times New Roman"/>
              </a:rPr>
              <a:t> </a:t>
            </a:r>
            <a:r>
              <a:rPr sz="1400" b="1" dirty="0">
                <a:latin typeface="Times New Roman"/>
                <a:cs typeface="Times New Roman"/>
              </a:rPr>
              <a:t>1</a:t>
            </a:r>
            <a:endParaRPr sz="1400">
              <a:latin typeface="Times New Roman"/>
              <a:cs typeface="Times New Roman"/>
            </a:endParaRPr>
          </a:p>
        </p:txBody>
      </p:sp>
      <p:sp>
        <p:nvSpPr>
          <p:cNvPr id="15" name="object 15"/>
          <p:cNvSpPr/>
          <p:nvPr/>
        </p:nvSpPr>
        <p:spPr>
          <a:xfrm>
            <a:off x="7986268" y="3004057"/>
            <a:ext cx="669671" cy="570229"/>
          </a:xfrm>
          <a:prstGeom prst="rect">
            <a:avLst/>
          </a:prstGeom>
          <a:blipFill>
            <a:blip r:embed="rId5" cstate="print"/>
            <a:stretch>
              <a:fillRect/>
            </a:stretch>
          </a:blipFill>
        </p:spPr>
        <p:txBody>
          <a:bodyPr wrap="square" lIns="0" tIns="0" rIns="0" bIns="0" rtlCol="0"/>
          <a:lstStyle/>
          <a:p>
            <a:endParaRPr/>
          </a:p>
        </p:txBody>
      </p:sp>
      <p:sp>
        <p:nvSpPr>
          <p:cNvPr id="16" name="object 16"/>
          <p:cNvSpPr/>
          <p:nvPr/>
        </p:nvSpPr>
        <p:spPr>
          <a:xfrm>
            <a:off x="7986268" y="3004057"/>
            <a:ext cx="669925" cy="570230"/>
          </a:xfrm>
          <a:custGeom>
            <a:avLst/>
            <a:gdLst/>
            <a:ahLst/>
            <a:cxnLst/>
            <a:rect l="l" t="t" r="r" b="b"/>
            <a:pathLst>
              <a:path w="669925" h="570229">
                <a:moveTo>
                  <a:pt x="0" y="285114"/>
                </a:moveTo>
                <a:lnTo>
                  <a:pt x="3629" y="242979"/>
                </a:lnTo>
                <a:lnTo>
                  <a:pt x="14172" y="202764"/>
                </a:lnTo>
                <a:lnTo>
                  <a:pt x="31110" y="164911"/>
                </a:lnTo>
                <a:lnTo>
                  <a:pt x="53928" y="129860"/>
                </a:lnTo>
                <a:lnTo>
                  <a:pt x="82106" y="98052"/>
                </a:lnTo>
                <a:lnTo>
                  <a:pt x="115127" y="69928"/>
                </a:lnTo>
                <a:lnTo>
                  <a:pt x="152475" y="45929"/>
                </a:lnTo>
                <a:lnTo>
                  <a:pt x="193630" y="26496"/>
                </a:lnTo>
                <a:lnTo>
                  <a:pt x="238077" y="12070"/>
                </a:lnTo>
                <a:lnTo>
                  <a:pt x="285296" y="3091"/>
                </a:lnTo>
                <a:lnTo>
                  <a:pt x="334772" y="0"/>
                </a:lnTo>
                <a:lnTo>
                  <a:pt x="384250" y="3091"/>
                </a:lnTo>
                <a:lnTo>
                  <a:pt x="431477" y="12070"/>
                </a:lnTo>
                <a:lnTo>
                  <a:pt x="475936" y="26496"/>
                </a:lnTo>
                <a:lnTo>
                  <a:pt x="517106" y="45929"/>
                </a:lnTo>
                <a:lnTo>
                  <a:pt x="554471" y="69928"/>
                </a:lnTo>
                <a:lnTo>
                  <a:pt x="587509" y="98052"/>
                </a:lnTo>
                <a:lnTo>
                  <a:pt x="615704" y="129860"/>
                </a:lnTo>
                <a:lnTo>
                  <a:pt x="638536" y="164911"/>
                </a:lnTo>
                <a:lnTo>
                  <a:pt x="655487" y="202764"/>
                </a:lnTo>
                <a:lnTo>
                  <a:pt x="666038" y="242979"/>
                </a:lnTo>
                <a:lnTo>
                  <a:pt x="669671" y="285114"/>
                </a:lnTo>
                <a:lnTo>
                  <a:pt x="666038" y="327250"/>
                </a:lnTo>
                <a:lnTo>
                  <a:pt x="655487" y="367465"/>
                </a:lnTo>
                <a:lnTo>
                  <a:pt x="638536" y="405318"/>
                </a:lnTo>
                <a:lnTo>
                  <a:pt x="615704" y="440369"/>
                </a:lnTo>
                <a:lnTo>
                  <a:pt x="587509" y="472177"/>
                </a:lnTo>
                <a:lnTo>
                  <a:pt x="554471" y="500301"/>
                </a:lnTo>
                <a:lnTo>
                  <a:pt x="517106" y="524300"/>
                </a:lnTo>
                <a:lnTo>
                  <a:pt x="475936" y="543733"/>
                </a:lnTo>
                <a:lnTo>
                  <a:pt x="431477" y="558159"/>
                </a:lnTo>
                <a:lnTo>
                  <a:pt x="384250" y="567138"/>
                </a:lnTo>
                <a:lnTo>
                  <a:pt x="334772" y="570229"/>
                </a:lnTo>
                <a:lnTo>
                  <a:pt x="285296" y="567138"/>
                </a:lnTo>
                <a:lnTo>
                  <a:pt x="238077" y="558159"/>
                </a:lnTo>
                <a:lnTo>
                  <a:pt x="193630" y="543733"/>
                </a:lnTo>
                <a:lnTo>
                  <a:pt x="152475" y="524300"/>
                </a:lnTo>
                <a:lnTo>
                  <a:pt x="115127" y="500301"/>
                </a:lnTo>
                <a:lnTo>
                  <a:pt x="82106" y="472177"/>
                </a:lnTo>
                <a:lnTo>
                  <a:pt x="53928" y="440369"/>
                </a:lnTo>
                <a:lnTo>
                  <a:pt x="31110" y="405318"/>
                </a:lnTo>
                <a:lnTo>
                  <a:pt x="14172" y="367465"/>
                </a:lnTo>
                <a:lnTo>
                  <a:pt x="3629" y="327250"/>
                </a:lnTo>
                <a:lnTo>
                  <a:pt x="0" y="285114"/>
                </a:lnTo>
                <a:close/>
              </a:path>
            </a:pathLst>
          </a:custGeom>
          <a:ln w="12699">
            <a:solidFill>
              <a:srgbClr val="FFFF00"/>
            </a:solidFill>
          </a:ln>
        </p:spPr>
        <p:txBody>
          <a:bodyPr wrap="square" lIns="0" tIns="0" rIns="0" bIns="0" rtlCol="0"/>
          <a:lstStyle/>
          <a:p>
            <a:endParaRPr/>
          </a:p>
        </p:txBody>
      </p:sp>
      <p:sp>
        <p:nvSpPr>
          <p:cNvPr id="17" name="object 17"/>
          <p:cNvSpPr txBox="1"/>
          <p:nvPr/>
        </p:nvSpPr>
        <p:spPr>
          <a:xfrm>
            <a:off x="8086470" y="3070733"/>
            <a:ext cx="473075" cy="439420"/>
          </a:xfrm>
          <a:prstGeom prst="rect">
            <a:avLst/>
          </a:prstGeom>
        </p:spPr>
        <p:txBody>
          <a:bodyPr vert="horz" wrap="square" lIns="0" tIns="0" rIns="0" bIns="0" rtlCol="0">
            <a:spAutoFit/>
          </a:bodyPr>
          <a:lstStyle/>
          <a:p>
            <a:pPr marL="41275">
              <a:lnSpc>
                <a:spcPct val="100000"/>
              </a:lnSpc>
            </a:pPr>
            <a:r>
              <a:rPr sz="1400" b="1" dirty="0">
                <a:latin typeface="Times New Roman"/>
                <a:cs typeface="Times New Roman"/>
              </a:rPr>
              <a:t>Sales</a:t>
            </a:r>
            <a:endParaRPr sz="1400">
              <a:latin typeface="Times New Roman"/>
              <a:cs typeface="Times New Roman"/>
            </a:endParaRPr>
          </a:p>
          <a:p>
            <a:pPr marL="12700">
              <a:lnSpc>
                <a:spcPct val="100000"/>
              </a:lnSpc>
            </a:pPr>
            <a:r>
              <a:rPr sz="1400" b="1" dirty="0">
                <a:latin typeface="Times New Roman"/>
                <a:cs typeface="Times New Roman"/>
              </a:rPr>
              <a:t>Grp</a:t>
            </a:r>
            <a:r>
              <a:rPr sz="1400" b="1" spc="-125" dirty="0">
                <a:latin typeface="Times New Roman"/>
                <a:cs typeface="Times New Roman"/>
              </a:rPr>
              <a:t> </a:t>
            </a:r>
            <a:r>
              <a:rPr sz="1400" b="1" dirty="0">
                <a:latin typeface="Times New Roman"/>
                <a:cs typeface="Times New Roman"/>
              </a:rPr>
              <a:t>2</a:t>
            </a:r>
            <a:endParaRPr sz="1400">
              <a:latin typeface="Times New Roman"/>
              <a:cs typeface="Times New Roman"/>
            </a:endParaRPr>
          </a:p>
        </p:txBody>
      </p:sp>
      <p:sp>
        <p:nvSpPr>
          <p:cNvPr id="18" name="object 18"/>
          <p:cNvSpPr/>
          <p:nvPr/>
        </p:nvSpPr>
        <p:spPr>
          <a:xfrm>
            <a:off x="7308215" y="2532507"/>
            <a:ext cx="351155" cy="440690"/>
          </a:xfrm>
          <a:custGeom>
            <a:avLst/>
            <a:gdLst/>
            <a:ahLst/>
            <a:cxnLst/>
            <a:rect l="l" t="t" r="r" b="b"/>
            <a:pathLst>
              <a:path w="351154" h="440689">
                <a:moveTo>
                  <a:pt x="27685" y="304672"/>
                </a:moveTo>
                <a:lnTo>
                  <a:pt x="0" y="440308"/>
                </a:lnTo>
                <a:lnTo>
                  <a:pt x="125094" y="381000"/>
                </a:lnTo>
                <a:lnTo>
                  <a:pt x="113425" y="371855"/>
                </a:lnTo>
                <a:lnTo>
                  <a:pt x="79882" y="371855"/>
                </a:lnTo>
                <a:lnTo>
                  <a:pt x="47370" y="346455"/>
                </a:lnTo>
                <a:lnTo>
                  <a:pt x="60161" y="330120"/>
                </a:lnTo>
                <a:lnTo>
                  <a:pt x="27685" y="304672"/>
                </a:lnTo>
                <a:close/>
              </a:path>
              <a:path w="351154" h="440689">
                <a:moveTo>
                  <a:pt x="60161" y="330120"/>
                </a:moveTo>
                <a:lnTo>
                  <a:pt x="47370" y="346455"/>
                </a:lnTo>
                <a:lnTo>
                  <a:pt x="79882" y="371855"/>
                </a:lnTo>
                <a:lnTo>
                  <a:pt x="92637" y="355566"/>
                </a:lnTo>
                <a:lnTo>
                  <a:pt x="60161" y="330120"/>
                </a:lnTo>
                <a:close/>
              </a:path>
              <a:path w="351154" h="440689">
                <a:moveTo>
                  <a:pt x="92637" y="355566"/>
                </a:moveTo>
                <a:lnTo>
                  <a:pt x="79882" y="371855"/>
                </a:lnTo>
                <a:lnTo>
                  <a:pt x="113425" y="371855"/>
                </a:lnTo>
                <a:lnTo>
                  <a:pt x="92637" y="355566"/>
                </a:lnTo>
                <a:close/>
              </a:path>
              <a:path w="351154" h="440689">
                <a:moveTo>
                  <a:pt x="318642" y="0"/>
                </a:moveTo>
                <a:lnTo>
                  <a:pt x="60161" y="330120"/>
                </a:lnTo>
                <a:lnTo>
                  <a:pt x="92637" y="355566"/>
                </a:lnTo>
                <a:lnTo>
                  <a:pt x="351154" y="25400"/>
                </a:lnTo>
                <a:lnTo>
                  <a:pt x="318642" y="0"/>
                </a:lnTo>
                <a:close/>
              </a:path>
            </a:pathLst>
          </a:custGeom>
          <a:solidFill>
            <a:srgbClr val="000080"/>
          </a:solidFill>
        </p:spPr>
        <p:txBody>
          <a:bodyPr wrap="square" lIns="0" tIns="0" rIns="0" bIns="0" rtlCol="0"/>
          <a:lstStyle/>
          <a:p>
            <a:endParaRPr/>
          </a:p>
        </p:txBody>
      </p:sp>
      <p:sp>
        <p:nvSpPr>
          <p:cNvPr id="19" name="object 19"/>
          <p:cNvSpPr/>
          <p:nvPr/>
        </p:nvSpPr>
        <p:spPr>
          <a:xfrm>
            <a:off x="7949056" y="2519045"/>
            <a:ext cx="351155" cy="440690"/>
          </a:xfrm>
          <a:custGeom>
            <a:avLst/>
            <a:gdLst/>
            <a:ahLst/>
            <a:cxnLst/>
            <a:rect l="l" t="t" r="r" b="b"/>
            <a:pathLst>
              <a:path w="351154" h="440689">
                <a:moveTo>
                  <a:pt x="258533" y="355714"/>
                </a:moveTo>
                <a:lnTo>
                  <a:pt x="226060" y="381126"/>
                </a:lnTo>
                <a:lnTo>
                  <a:pt x="351154" y="440435"/>
                </a:lnTo>
                <a:lnTo>
                  <a:pt x="337246" y="371982"/>
                </a:lnTo>
                <a:lnTo>
                  <a:pt x="271272" y="371982"/>
                </a:lnTo>
                <a:lnTo>
                  <a:pt x="258533" y="355714"/>
                </a:lnTo>
                <a:close/>
              </a:path>
              <a:path w="351154" h="440689">
                <a:moveTo>
                  <a:pt x="291087" y="330239"/>
                </a:moveTo>
                <a:lnTo>
                  <a:pt x="258533" y="355714"/>
                </a:lnTo>
                <a:lnTo>
                  <a:pt x="271272" y="371982"/>
                </a:lnTo>
                <a:lnTo>
                  <a:pt x="303784" y="346455"/>
                </a:lnTo>
                <a:lnTo>
                  <a:pt x="291087" y="330239"/>
                </a:lnTo>
                <a:close/>
              </a:path>
              <a:path w="351154" h="440689">
                <a:moveTo>
                  <a:pt x="323596" y="304800"/>
                </a:moveTo>
                <a:lnTo>
                  <a:pt x="291087" y="330239"/>
                </a:lnTo>
                <a:lnTo>
                  <a:pt x="303784" y="346455"/>
                </a:lnTo>
                <a:lnTo>
                  <a:pt x="271272" y="371982"/>
                </a:lnTo>
                <a:lnTo>
                  <a:pt x="337246" y="371982"/>
                </a:lnTo>
                <a:lnTo>
                  <a:pt x="323596" y="304800"/>
                </a:lnTo>
                <a:close/>
              </a:path>
              <a:path w="351154" h="440689">
                <a:moveTo>
                  <a:pt x="32512" y="0"/>
                </a:moveTo>
                <a:lnTo>
                  <a:pt x="0" y="25526"/>
                </a:lnTo>
                <a:lnTo>
                  <a:pt x="258533" y="355714"/>
                </a:lnTo>
                <a:lnTo>
                  <a:pt x="291087" y="330239"/>
                </a:lnTo>
                <a:lnTo>
                  <a:pt x="32512" y="0"/>
                </a:lnTo>
                <a:close/>
              </a:path>
            </a:pathLst>
          </a:custGeom>
          <a:solidFill>
            <a:srgbClr val="000080"/>
          </a:solidFill>
        </p:spPr>
        <p:txBody>
          <a:bodyPr wrap="square" lIns="0" tIns="0" rIns="0" bIns="0" rtlCol="0"/>
          <a:lstStyle/>
          <a:p>
            <a:endParaRPr/>
          </a:p>
        </p:txBody>
      </p:sp>
      <p:sp>
        <p:nvSpPr>
          <p:cNvPr id="20" name="object 20"/>
          <p:cNvSpPr/>
          <p:nvPr/>
        </p:nvSpPr>
        <p:spPr>
          <a:xfrm>
            <a:off x="4224401" y="1704975"/>
            <a:ext cx="2286000" cy="2133600"/>
          </a:xfrm>
          <a:custGeom>
            <a:avLst/>
            <a:gdLst/>
            <a:ahLst/>
            <a:cxnLst/>
            <a:rect l="l" t="t" r="r" b="b"/>
            <a:pathLst>
              <a:path w="2286000" h="2133600">
                <a:moveTo>
                  <a:pt x="1143000" y="0"/>
                </a:moveTo>
                <a:lnTo>
                  <a:pt x="1093414" y="985"/>
                </a:lnTo>
                <a:lnTo>
                  <a:pt x="1044369" y="3915"/>
                </a:lnTo>
                <a:lnTo>
                  <a:pt x="995907" y="8750"/>
                </a:lnTo>
                <a:lnTo>
                  <a:pt x="948070" y="15450"/>
                </a:lnTo>
                <a:lnTo>
                  <a:pt x="900902" y="23974"/>
                </a:lnTo>
                <a:lnTo>
                  <a:pt x="854446" y="34283"/>
                </a:lnTo>
                <a:lnTo>
                  <a:pt x="808743" y="46336"/>
                </a:lnTo>
                <a:lnTo>
                  <a:pt x="763838" y="60093"/>
                </a:lnTo>
                <a:lnTo>
                  <a:pt x="719773" y="75515"/>
                </a:lnTo>
                <a:lnTo>
                  <a:pt x="676591" y="92561"/>
                </a:lnTo>
                <a:lnTo>
                  <a:pt x="634334" y="111192"/>
                </a:lnTo>
                <a:lnTo>
                  <a:pt x="593047" y="131366"/>
                </a:lnTo>
                <a:lnTo>
                  <a:pt x="552770" y="153045"/>
                </a:lnTo>
                <a:lnTo>
                  <a:pt x="513549" y="176189"/>
                </a:lnTo>
                <a:lnTo>
                  <a:pt x="475424" y="200756"/>
                </a:lnTo>
                <a:lnTo>
                  <a:pt x="438440" y="226708"/>
                </a:lnTo>
                <a:lnTo>
                  <a:pt x="402638" y="254003"/>
                </a:lnTo>
                <a:lnTo>
                  <a:pt x="368062" y="282603"/>
                </a:lnTo>
                <a:lnTo>
                  <a:pt x="334756" y="312467"/>
                </a:lnTo>
                <a:lnTo>
                  <a:pt x="302760" y="343555"/>
                </a:lnTo>
                <a:lnTo>
                  <a:pt x="272120" y="375827"/>
                </a:lnTo>
                <a:lnTo>
                  <a:pt x="242876" y="409242"/>
                </a:lnTo>
                <a:lnTo>
                  <a:pt x="215073" y="443762"/>
                </a:lnTo>
                <a:lnTo>
                  <a:pt x="188753" y="479346"/>
                </a:lnTo>
                <a:lnTo>
                  <a:pt x="163958" y="515953"/>
                </a:lnTo>
                <a:lnTo>
                  <a:pt x="140733" y="553544"/>
                </a:lnTo>
                <a:lnTo>
                  <a:pt x="119119" y="592079"/>
                </a:lnTo>
                <a:lnTo>
                  <a:pt x="99160" y="631517"/>
                </a:lnTo>
                <a:lnTo>
                  <a:pt x="80898" y="671820"/>
                </a:lnTo>
                <a:lnTo>
                  <a:pt x="64377" y="712946"/>
                </a:lnTo>
                <a:lnTo>
                  <a:pt x="49638" y="754855"/>
                </a:lnTo>
                <a:lnTo>
                  <a:pt x="36726" y="797508"/>
                </a:lnTo>
                <a:lnTo>
                  <a:pt x="25683" y="840865"/>
                </a:lnTo>
                <a:lnTo>
                  <a:pt x="16551" y="884885"/>
                </a:lnTo>
                <a:lnTo>
                  <a:pt x="9374" y="929528"/>
                </a:lnTo>
                <a:lnTo>
                  <a:pt x="4195" y="974755"/>
                </a:lnTo>
                <a:lnTo>
                  <a:pt x="1055" y="1020526"/>
                </a:lnTo>
                <a:lnTo>
                  <a:pt x="0" y="1066800"/>
                </a:lnTo>
                <a:lnTo>
                  <a:pt x="1055" y="1113073"/>
                </a:lnTo>
                <a:lnTo>
                  <a:pt x="4195" y="1158844"/>
                </a:lnTo>
                <a:lnTo>
                  <a:pt x="9374" y="1204071"/>
                </a:lnTo>
                <a:lnTo>
                  <a:pt x="16551" y="1248714"/>
                </a:lnTo>
                <a:lnTo>
                  <a:pt x="25683" y="1292734"/>
                </a:lnTo>
                <a:lnTo>
                  <a:pt x="36726" y="1336091"/>
                </a:lnTo>
                <a:lnTo>
                  <a:pt x="49638" y="1378744"/>
                </a:lnTo>
                <a:lnTo>
                  <a:pt x="64377" y="1420653"/>
                </a:lnTo>
                <a:lnTo>
                  <a:pt x="80898" y="1461779"/>
                </a:lnTo>
                <a:lnTo>
                  <a:pt x="99160" y="1502082"/>
                </a:lnTo>
                <a:lnTo>
                  <a:pt x="119119" y="1541520"/>
                </a:lnTo>
                <a:lnTo>
                  <a:pt x="140733" y="1580055"/>
                </a:lnTo>
                <a:lnTo>
                  <a:pt x="163958" y="1617646"/>
                </a:lnTo>
                <a:lnTo>
                  <a:pt x="188753" y="1654253"/>
                </a:lnTo>
                <a:lnTo>
                  <a:pt x="215073" y="1689837"/>
                </a:lnTo>
                <a:lnTo>
                  <a:pt x="242876" y="1724357"/>
                </a:lnTo>
                <a:lnTo>
                  <a:pt x="272120" y="1757772"/>
                </a:lnTo>
                <a:lnTo>
                  <a:pt x="302760" y="1790044"/>
                </a:lnTo>
                <a:lnTo>
                  <a:pt x="334756" y="1821132"/>
                </a:lnTo>
                <a:lnTo>
                  <a:pt x="368062" y="1850996"/>
                </a:lnTo>
                <a:lnTo>
                  <a:pt x="402638" y="1879596"/>
                </a:lnTo>
                <a:lnTo>
                  <a:pt x="438440" y="1906891"/>
                </a:lnTo>
                <a:lnTo>
                  <a:pt x="475424" y="1932843"/>
                </a:lnTo>
                <a:lnTo>
                  <a:pt x="513549" y="1957410"/>
                </a:lnTo>
                <a:lnTo>
                  <a:pt x="552770" y="1980554"/>
                </a:lnTo>
                <a:lnTo>
                  <a:pt x="593047" y="2002233"/>
                </a:lnTo>
                <a:lnTo>
                  <a:pt x="634334" y="2022407"/>
                </a:lnTo>
                <a:lnTo>
                  <a:pt x="676591" y="2041038"/>
                </a:lnTo>
                <a:lnTo>
                  <a:pt x="719773" y="2058084"/>
                </a:lnTo>
                <a:lnTo>
                  <a:pt x="763838" y="2073506"/>
                </a:lnTo>
                <a:lnTo>
                  <a:pt x="808743" y="2087263"/>
                </a:lnTo>
                <a:lnTo>
                  <a:pt x="854446" y="2099316"/>
                </a:lnTo>
                <a:lnTo>
                  <a:pt x="900902" y="2109625"/>
                </a:lnTo>
                <a:lnTo>
                  <a:pt x="948070" y="2118149"/>
                </a:lnTo>
                <a:lnTo>
                  <a:pt x="995907" y="2124849"/>
                </a:lnTo>
                <a:lnTo>
                  <a:pt x="1044369" y="2129684"/>
                </a:lnTo>
                <a:lnTo>
                  <a:pt x="1093414" y="2132614"/>
                </a:lnTo>
                <a:lnTo>
                  <a:pt x="1143000" y="2133600"/>
                </a:lnTo>
                <a:lnTo>
                  <a:pt x="1192575" y="2132614"/>
                </a:lnTo>
                <a:lnTo>
                  <a:pt x="1241612" y="2129684"/>
                </a:lnTo>
                <a:lnTo>
                  <a:pt x="1290067" y="2124849"/>
                </a:lnTo>
                <a:lnTo>
                  <a:pt x="1337897" y="2118149"/>
                </a:lnTo>
                <a:lnTo>
                  <a:pt x="1385059" y="2109625"/>
                </a:lnTo>
                <a:lnTo>
                  <a:pt x="1431511" y="2099316"/>
                </a:lnTo>
                <a:lnTo>
                  <a:pt x="1477209" y="2087263"/>
                </a:lnTo>
                <a:lnTo>
                  <a:pt x="1522111" y="2073506"/>
                </a:lnTo>
                <a:lnTo>
                  <a:pt x="1566173" y="2058084"/>
                </a:lnTo>
                <a:lnTo>
                  <a:pt x="1609354" y="2041038"/>
                </a:lnTo>
                <a:lnTo>
                  <a:pt x="1651609" y="2022407"/>
                </a:lnTo>
                <a:lnTo>
                  <a:pt x="1692896" y="2002233"/>
                </a:lnTo>
                <a:lnTo>
                  <a:pt x="1733172" y="1980554"/>
                </a:lnTo>
                <a:lnTo>
                  <a:pt x="1772394" y="1957410"/>
                </a:lnTo>
                <a:lnTo>
                  <a:pt x="1810520" y="1932843"/>
                </a:lnTo>
                <a:lnTo>
                  <a:pt x="1847506" y="1906891"/>
                </a:lnTo>
                <a:lnTo>
                  <a:pt x="1883309" y="1879596"/>
                </a:lnTo>
                <a:lnTo>
                  <a:pt x="1917887" y="1850996"/>
                </a:lnTo>
                <a:lnTo>
                  <a:pt x="1951196" y="1821132"/>
                </a:lnTo>
                <a:lnTo>
                  <a:pt x="1983194" y="1790044"/>
                </a:lnTo>
                <a:lnTo>
                  <a:pt x="2013837" y="1757772"/>
                </a:lnTo>
                <a:lnTo>
                  <a:pt x="2043084" y="1724357"/>
                </a:lnTo>
                <a:lnTo>
                  <a:pt x="2070890" y="1689837"/>
                </a:lnTo>
                <a:lnTo>
                  <a:pt x="2097214" y="1654253"/>
                </a:lnTo>
                <a:lnTo>
                  <a:pt x="2122011" y="1617646"/>
                </a:lnTo>
                <a:lnTo>
                  <a:pt x="2145240" y="1580055"/>
                </a:lnTo>
                <a:lnTo>
                  <a:pt x="2166857" y="1541520"/>
                </a:lnTo>
                <a:lnTo>
                  <a:pt x="2186820" y="1502082"/>
                </a:lnTo>
                <a:lnTo>
                  <a:pt x="2205084" y="1461779"/>
                </a:lnTo>
                <a:lnTo>
                  <a:pt x="2221609" y="1420653"/>
                </a:lnTo>
                <a:lnTo>
                  <a:pt x="2236350" y="1378744"/>
                </a:lnTo>
                <a:lnTo>
                  <a:pt x="2249265" y="1336091"/>
                </a:lnTo>
                <a:lnTo>
                  <a:pt x="2260311" y="1292734"/>
                </a:lnTo>
                <a:lnTo>
                  <a:pt x="2269444" y="1248714"/>
                </a:lnTo>
                <a:lnTo>
                  <a:pt x="2276623" y="1204071"/>
                </a:lnTo>
                <a:lnTo>
                  <a:pt x="2281803" y="1158844"/>
                </a:lnTo>
                <a:lnTo>
                  <a:pt x="2284943" y="1113073"/>
                </a:lnTo>
                <a:lnTo>
                  <a:pt x="2286000" y="1066800"/>
                </a:lnTo>
                <a:lnTo>
                  <a:pt x="2284943" y="1020526"/>
                </a:lnTo>
                <a:lnTo>
                  <a:pt x="2281803" y="974755"/>
                </a:lnTo>
                <a:lnTo>
                  <a:pt x="2276623" y="929528"/>
                </a:lnTo>
                <a:lnTo>
                  <a:pt x="2269444" y="884885"/>
                </a:lnTo>
                <a:lnTo>
                  <a:pt x="2260311" y="840865"/>
                </a:lnTo>
                <a:lnTo>
                  <a:pt x="2249265" y="797508"/>
                </a:lnTo>
                <a:lnTo>
                  <a:pt x="2236350" y="754855"/>
                </a:lnTo>
                <a:lnTo>
                  <a:pt x="2221609" y="712946"/>
                </a:lnTo>
                <a:lnTo>
                  <a:pt x="2205084" y="671820"/>
                </a:lnTo>
                <a:lnTo>
                  <a:pt x="2186820" y="631517"/>
                </a:lnTo>
                <a:lnTo>
                  <a:pt x="2166857" y="592079"/>
                </a:lnTo>
                <a:lnTo>
                  <a:pt x="2145240" y="553544"/>
                </a:lnTo>
                <a:lnTo>
                  <a:pt x="2122011" y="515953"/>
                </a:lnTo>
                <a:lnTo>
                  <a:pt x="2097214" y="479346"/>
                </a:lnTo>
                <a:lnTo>
                  <a:pt x="2070890" y="443762"/>
                </a:lnTo>
                <a:lnTo>
                  <a:pt x="2043084" y="409242"/>
                </a:lnTo>
                <a:lnTo>
                  <a:pt x="2013837" y="375827"/>
                </a:lnTo>
                <a:lnTo>
                  <a:pt x="1983194" y="343555"/>
                </a:lnTo>
                <a:lnTo>
                  <a:pt x="1951196" y="312467"/>
                </a:lnTo>
                <a:lnTo>
                  <a:pt x="1917887" y="282603"/>
                </a:lnTo>
                <a:lnTo>
                  <a:pt x="1883309" y="254003"/>
                </a:lnTo>
                <a:lnTo>
                  <a:pt x="1847506" y="226708"/>
                </a:lnTo>
                <a:lnTo>
                  <a:pt x="1810520" y="200756"/>
                </a:lnTo>
                <a:lnTo>
                  <a:pt x="1772394" y="176189"/>
                </a:lnTo>
                <a:lnTo>
                  <a:pt x="1733172" y="153045"/>
                </a:lnTo>
                <a:lnTo>
                  <a:pt x="1692896" y="131366"/>
                </a:lnTo>
                <a:lnTo>
                  <a:pt x="1651609" y="111192"/>
                </a:lnTo>
                <a:lnTo>
                  <a:pt x="1609354" y="92561"/>
                </a:lnTo>
                <a:lnTo>
                  <a:pt x="1566173" y="75515"/>
                </a:lnTo>
                <a:lnTo>
                  <a:pt x="1522111" y="60093"/>
                </a:lnTo>
                <a:lnTo>
                  <a:pt x="1477209" y="46336"/>
                </a:lnTo>
                <a:lnTo>
                  <a:pt x="1431511" y="34283"/>
                </a:lnTo>
                <a:lnTo>
                  <a:pt x="1385059" y="23974"/>
                </a:lnTo>
                <a:lnTo>
                  <a:pt x="1337897" y="15450"/>
                </a:lnTo>
                <a:lnTo>
                  <a:pt x="1290067" y="8750"/>
                </a:lnTo>
                <a:lnTo>
                  <a:pt x="1241612" y="3915"/>
                </a:lnTo>
                <a:lnTo>
                  <a:pt x="1192575" y="985"/>
                </a:lnTo>
                <a:lnTo>
                  <a:pt x="1143000" y="0"/>
                </a:lnTo>
                <a:close/>
              </a:path>
            </a:pathLst>
          </a:custGeom>
          <a:solidFill>
            <a:srgbClr val="AED6FF"/>
          </a:solidFill>
        </p:spPr>
        <p:txBody>
          <a:bodyPr wrap="square" lIns="0" tIns="0" rIns="0" bIns="0" rtlCol="0"/>
          <a:lstStyle/>
          <a:p>
            <a:endParaRPr/>
          </a:p>
        </p:txBody>
      </p:sp>
      <p:sp>
        <p:nvSpPr>
          <p:cNvPr id="21" name="object 21"/>
          <p:cNvSpPr/>
          <p:nvPr/>
        </p:nvSpPr>
        <p:spPr>
          <a:xfrm>
            <a:off x="4224401" y="1704975"/>
            <a:ext cx="2286000" cy="2133600"/>
          </a:xfrm>
          <a:custGeom>
            <a:avLst/>
            <a:gdLst/>
            <a:ahLst/>
            <a:cxnLst/>
            <a:rect l="l" t="t" r="r" b="b"/>
            <a:pathLst>
              <a:path w="2286000" h="2133600">
                <a:moveTo>
                  <a:pt x="0" y="1066800"/>
                </a:moveTo>
                <a:lnTo>
                  <a:pt x="1055" y="1020526"/>
                </a:lnTo>
                <a:lnTo>
                  <a:pt x="4195" y="974755"/>
                </a:lnTo>
                <a:lnTo>
                  <a:pt x="9374" y="929528"/>
                </a:lnTo>
                <a:lnTo>
                  <a:pt x="16551" y="884885"/>
                </a:lnTo>
                <a:lnTo>
                  <a:pt x="25683" y="840865"/>
                </a:lnTo>
                <a:lnTo>
                  <a:pt x="36726" y="797508"/>
                </a:lnTo>
                <a:lnTo>
                  <a:pt x="49638" y="754855"/>
                </a:lnTo>
                <a:lnTo>
                  <a:pt x="64377" y="712946"/>
                </a:lnTo>
                <a:lnTo>
                  <a:pt x="80898" y="671820"/>
                </a:lnTo>
                <a:lnTo>
                  <a:pt x="99160" y="631517"/>
                </a:lnTo>
                <a:lnTo>
                  <a:pt x="119119" y="592079"/>
                </a:lnTo>
                <a:lnTo>
                  <a:pt x="140733" y="553544"/>
                </a:lnTo>
                <a:lnTo>
                  <a:pt x="163958" y="515953"/>
                </a:lnTo>
                <a:lnTo>
                  <a:pt x="188753" y="479346"/>
                </a:lnTo>
                <a:lnTo>
                  <a:pt x="215073" y="443762"/>
                </a:lnTo>
                <a:lnTo>
                  <a:pt x="242876" y="409242"/>
                </a:lnTo>
                <a:lnTo>
                  <a:pt x="272120" y="375827"/>
                </a:lnTo>
                <a:lnTo>
                  <a:pt x="302760" y="343555"/>
                </a:lnTo>
                <a:lnTo>
                  <a:pt x="334756" y="312467"/>
                </a:lnTo>
                <a:lnTo>
                  <a:pt x="368062" y="282603"/>
                </a:lnTo>
                <a:lnTo>
                  <a:pt x="402638" y="254003"/>
                </a:lnTo>
                <a:lnTo>
                  <a:pt x="438440" y="226708"/>
                </a:lnTo>
                <a:lnTo>
                  <a:pt x="475424" y="200756"/>
                </a:lnTo>
                <a:lnTo>
                  <a:pt x="513549" y="176189"/>
                </a:lnTo>
                <a:lnTo>
                  <a:pt x="552770" y="153045"/>
                </a:lnTo>
                <a:lnTo>
                  <a:pt x="593047" y="131366"/>
                </a:lnTo>
                <a:lnTo>
                  <a:pt x="634334" y="111192"/>
                </a:lnTo>
                <a:lnTo>
                  <a:pt x="676591" y="92561"/>
                </a:lnTo>
                <a:lnTo>
                  <a:pt x="719773" y="75515"/>
                </a:lnTo>
                <a:lnTo>
                  <a:pt x="763838" y="60093"/>
                </a:lnTo>
                <a:lnTo>
                  <a:pt x="808743" y="46336"/>
                </a:lnTo>
                <a:lnTo>
                  <a:pt x="854446" y="34283"/>
                </a:lnTo>
                <a:lnTo>
                  <a:pt x="900902" y="23974"/>
                </a:lnTo>
                <a:lnTo>
                  <a:pt x="948070" y="15450"/>
                </a:lnTo>
                <a:lnTo>
                  <a:pt x="995907" y="8750"/>
                </a:lnTo>
                <a:lnTo>
                  <a:pt x="1044369" y="3915"/>
                </a:lnTo>
                <a:lnTo>
                  <a:pt x="1093414" y="985"/>
                </a:lnTo>
                <a:lnTo>
                  <a:pt x="1143000" y="0"/>
                </a:lnTo>
                <a:lnTo>
                  <a:pt x="1192575" y="985"/>
                </a:lnTo>
                <a:lnTo>
                  <a:pt x="1241612" y="3915"/>
                </a:lnTo>
                <a:lnTo>
                  <a:pt x="1290067" y="8750"/>
                </a:lnTo>
                <a:lnTo>
                  <a:pt x="1337897" y="15450"/>
                </a:lnTo>
                <a:lnTo>
                  <a:pt x="1385059" y="23974"/>
                </a:lnTo>
                <a:lnTo>
                  <a:pt x="1431511" y="34283"/>
                </a:lnTo>
                <a:lnTo>
                  <a:pt x="1477209" y="46336"/>
                </a:lnTo>
                <a:lnTo>
                  <a:pt x="1522111" y="60093"/>
                </a:lnTo>
                <a:lnTo>
                  <a:pt x="1566173" y="75515"/>
                </a:lnTo>
                <a:lnTo>
                  <a:pt x="1609354" y="92561"/>
                </a:lnTo>
                <a:lnTo>
                  <a:pt x="1651609" y="111192"/>
                </a:lnTo>
                <a:lnTo>
                  <a:pt x="1692896" y="131366"/>
                </a:lnTo>
                <a:lnTo>
                  <a:pt x="1733172" y="153045"/>
                </a:lnTo>
                <a:lnTo>
                  <a:pt x="1772394" y="176189"/>
                </a:lnTo>
                <a:lnTo>
                  <a:pt x="1810520" y="200756"/>
                </a:lnTo>
                <a:lnTo>
                  <a:pt x="1847506" y="226708"/>
                </a:lnTo>
                <a:lnTo>
                  <a:pt x="1883309" y="254003"/>
                </a:lnTo>
                <a:lnTo>
                  <a:pt x="1917887" y="282603"/>
                </a:lnTo>
                <a:lnTo>
                  <a:pt x="1951196" y="312467"/>
                </a:lnTo>
                <a:lnTo>
                  <a:pt x="1983194" y="343555"/>
                </a:lnTo>
                <a:lnTo>
                  <a:pt x="2013837" y="375827"/>
                </a:lnTo>
                <a:lnTo>
                  <a:pt x="2043084" y="409242"/>
                </a:lnTo>
                <a:lnTo>
                  <a:pt x="2070890" y="443762"/>
                </a:lnTo>
                <a:lnTo>
                  <a:pt x="2097214" y="479346"/>
                </a:lnTo>
                <a:lnTo>
                  <a:pt x="2122011" y="515953"/>
                </a:lnTo>
                <a:lnTo>
                  <a:pt x="2145240" y="553544"/>
                </a:lnTo>
                <a:lnTo>
                  <a:pt x="2166857" y="592079"/>
                </a:lnTo>
                <a:lnTo>
                  <a:pt x="2186820" y="631517"/>
                </a:lnTo>
                <a:lnTo>
                  <a:pt x="2205084" y="671820"/>
                </a:lnTo>
                <a:lnTo>
                  <a:pt x="2221609" y="712946"/>
                </a:lnTo>
                <a:lnTo>
                  <a:pt x="2236350" y="754855"/>
                </a:lnTo>
                <a:lnTo>
                  <a:pt x="2249265" y="797508"/>
                </a:lnTo>
                <a:lnTo>
                  <a:pt x="2260311" y="840865"/>
                </a:lnTo>
                <a:lnTo>
                  <a:pt x="2269444" y="884885"/>
                </a:lnTo>
                <a:lnTo>
                  <a:pt x="2276623" y="929528"/>
                </a:lnTo>
                <a:lnTo>
                  <a:pt x="2281803" y="974755"/>
                </a:lnTo>
                <a:lnTo>
                  <a:pt x="2284943" y="1020526"/>
                </a:lnTo>
                <a:lnTo>
                  <a:pt x="2286000" y="1066800"/>
                </a:lnTo>
                <a:lnTo>
                  <a:pt x="2284943" y="1113073"/>
                </a:lnTo>
                <a:lnTo>
                  <a:pt x="2281803" y="1158844"/>
                </a:lnTo>
                <a:lnTo>
                  <a:pt x="2276623" y="1204071"/>
                </a:lnTo>
                <a:lnTo>
                  <a:pt x="2269444" y="1248714"/>
                </a:lnTo>
                <a:lnTo>
                  <a:pt x="2260311" y="1292734"/>
                </a:lnTo>
                <a:lnTo>
                  <a:pt x="2249265" y="1336091"/>
                </a:lnTo>
                <a:lnTo>
                  <a:pt x="2236350" y="1378744"/>
                </a:lnTo>
                <a:lnTo>
                  <a:pt x="2221609" y="1420653"/>
                </a:lnTo>
                <a:lnTo>
                  <a:pt x="2205084" y="1461779"/>
                </a:lnTo>
                <a:lnTo>
                  <a:pt x="2186820" y="1502082"/>
                </a:lnTo>
                <a:lnTo>
                  <a:pt x="2166857" y="1541520"/>
                </a:lnTo>
                <a:lnTo>
                  <a:pt x="2145240" y="1580055"/>
                </a:lnTo>
                <a:lnTo>
                  <a:pt x="2122011" y="1617646"/>
                </a:lnTo>
                <a:lnTo>
                  <a:pt x="2097214" y="1654253"/>
                </a:lnTo>
                <a:lnTo>
                  <a:pt x="2070890" y="1689837"/>
                </a:lnTo>
                <a:lnTo>
                  <a:pt x="2043084" y="1724357"/>
                </a:lnTo>
                <a:lnTo>
                  <a:pt x="2013837" y="1757772"/>
                </a:lnTo>
                <a:lnTo>
                  <a:pt x="1983194" y="1790044"/>
                </a:lnTo>
                <a:lnTo>
                  <a:pt x="1951196" y="1821132"/>
                </a:lnTo>
                <a:lnTo>
                  <a:pt x="1917887" y="1850996"/>
                </a:lnTo>
                <a:lnTo>
                  <a:pt x="1883309" y="1879596"/>
                </a:lnTo>
                <a:lnTo>
                  <a:pt x="1847506" y="1906891"/>
                </a:lnTo>
                <a:lnTo>
                  <a:pt x="1810520" y="1932843"/>
                </a:lnTo>
                <a:lnTo>
                  <a:pt x="1772394" y="1957410"/>
                </a:lnTo>
                <a:lnTo>
                  <a:pt x="1733172" y="1980554"/>
                </a:lnTo>
                <a:lnTo>
                  <a:pt x="1692896" y="2002233"/>
                </a:lnTo>
                <a:lnTo>
                  <a:pt x="1651609" y="2022407"/>
                </a:lnTo>
                <a:lnTo>
                  <a:pt x="1609354" y="2041038"/>
                </a:lnTo>
                <a:lnTo>
                  <a:pt x="1566173" y="2058084"/>
                </a:lnTo>
                <a:lnTo>
                  <a:pt x="1522111" y="2073506"/>
                </a:lnTo>
                <a:lnTo>
                  <a:pt x="1477209" y="2087263"/>
                </a:lnTo>
                <a:lnTo>
                  <a:pt x="1431511" y="2099316"/>
                </a:lnTo>
                <a:lnTo>
                  <a:pt x="1385059" y="2109625"/>
                </a:lnTo>
                <a:lnTo>
                  <a:pt x="1337897" y="2118149"/>
                </a:lnTo>
                <a:lnTo>
                  <a:pt x="1290067" y="2124849"/>
                </a:lnTo>
                <a:lnTo>
                  <a:pt x="1241612" y="2129684"/>
                </a:lnTo>
                <a:lnTo>
                  <a:pt x="1192575" y="2132614"/>
                </a:lnTo>
                <a:lnTo>
                  <a:pt x="1143000" y="2133600"/>
                </a:lnTo>
                <a:lnTo>
                  <a:pt x="1093414" y="2132614"/>
                </a:lnTo>
                <a:lnTo>
                  <a:pt x="1044369" y="2129684"/>
                </a:lnTo>
                <a:lnTo>
                  <a:pt x="995907" y="2124849"/>
                </a:lnTo>
                <a:lnTo>
                  <a:pt x="948070" y="2118149"/>
                </a:lnTo>
                <a:lnTo>
                  <a:pt x="900902" y="2109625"/>
                </a:lnTo>
                <a:lnTo>
                  <a:pt x="854446" y="2099316"/>
                </a:lnTo>
                <a:lnTo>
                  <a:pt x="808743" y="2087263"/>
                </a:lnTo>
                <a:lnTo>
                  <a:pt x="763838" y="2073506"/>
                </a:lnTo>
                <a:lnTo>
                  <a:pt x="719773" y="2058084"/>
                </a:lnTo>
                <a:lnTo>
                  <a:pt x="676591" y="2041038"/>
                </a:lnTo>
                <a:lnTo>
                  <a:pt x="634334" y="2022407"/>
                </a:lnTo>
                <a:lnTo>
                  <a:pt x="593047" y="2002233"/>
                </a:lnTo>
                <a:lnTo>
                  <a:pt x="552770" y="1980554"/>
                </a:lnTo>
                <a:lnTo>
                  <a:pt x="513549" y="1957410"/>
                </a:lnTo>
                <a:lnTo>
                  <a:pt x="475424" y="1932843"/>
                </a:lnTo>
                <a:lnTo>
                  <a:pt x="438440" y="1906891"/>
                </a:lnTo>
                <a:lnTo>
                  <a:pt x="402638" y="1879596"/>
                </a:lnTo>
                <a:lnTo>
                  <a:pt x="368062" y="1850996"/>
                </a:lnTo>
                <a:lnTo>
                  <a:pt x="334756" y="1821132"/>
                </a:lnTo>
                <a:lnTo>
                  <a:pt x="302760" y="1790044"/>
                </a:lnTo>
                <a:lnTo>
                  <a:pt x="272120" y="1757772"/>
                </a:lnTo>
                <a:lnTo>
                  <a:pt x="242876" y="1724357"/>
                </a:lnTo>
                <a:lnTo>
                  <a:pt x="215073" y="1689837"/>
                </a:lnTo>
                <a:lnTo>
                  <a:pt x="188753" y="1654253"/>
                </a:lnTo>
                <a:lnTo>
                  <a:pt x="163958" y="1617646"/>
                </a:lnTo>
                <a:lnTo>
                  <a:pt x="140733" y="1580055"/>
                </a:lnTo>
                <a:lnTo>
                  <a:pt x="119119" y="1541520"/>
                </a:lnTo>
                <a:lnTo>
                  <a:pt x="99160" y="1502082"/>
                </a:lnTo>
                <a:lnTo>
                  <a:pt x="80898" y="1461779"/>
                </a:lnTo>
                <a:lnTo>
                  <a:pt x="64377" y="1420653"/>
                </a:lnTo>
                <a:lnTo>
                  <a:pt x="49638" y="1378744"/>
                </a:lnTo>
                <a:lnTo>
                  <a:pt x="36726" y="1336091"/>
                </a:lnTo>
                <a:lnTo>
                  <a:pt x="25683" y="1292734"/>
                </a:lnTo>
                <a:lnTo>
                  <a:pt x="16551" y="1248714"/>
                </a:lnTo>
                <a:lnTo>
                  <a:pt x="9374" y="1204071"/>
                </a:lnTo>
                <a:lnTo>
                  <a:pt x="4195" y="1158844"/>
                </a:lnTo>
                <a:lnTo>
                  <a:pt x="1055" y="1113073"/>
                </a:lnTo>
                <a:lnTo>
                  <a:pt x="0" y="1066800"/>
                </a:lnTo>
                <a:close/>
              </a:path>
            </a:pathLst>
          </a:custGeom>
          <a:ln w="88900">
            <a:solidFill>
              <a:srgbClr val="000080"/>
            </a:solidFill>
          </a:ln>
        </p:spPr>
        <p:txBody>
          <a:bodyPr wrap="square" lIns="0" tIns="0" rIns="0" bIns="0" rtlCol="0"/>
          <a:lstStyle/>
          <a:p>
            <a:endParaRPr/>
          </a:p>
        </p:txBody>
      </p:sp>
      <p:sp>
        <p:nvSpPr>
          <p:cNvPr id="22" name="object 22"/>
          <p:cNvSpPr/>
          <p:nvPr/>
        </p:nvSpPr>
        <p:spPr>
          <a:xfrm>
            <a:off x="4781550" y="3117850"/>
            <a:ext cx="1177925" cy="620776"/>
          </a:xfrm>
          <a:prstGeom prst="rect">
            <a:avLst/>
          </a:prstGeom>
          <a:blipFill>
            <a:blip r:embed="rId6" cstate="print"/>
            <a:stretch>
              <a:fillRect/>
            </a:stretch>
          </a:blipFill>
        </p:spPr>
        <p:txBody>
          <a:bodyPr wrap="square" lIns="0" tIns="0" rIns="0" bIns="0" rtlCol="0"/>
          <a:lstStyle/>
          <a:p>
            <a:endParaRPr/>
          </a:p>
        </p:txBody>
      </p:sp>
      <p:sp>
        <p:nvSpPr>
          <p:cNvPr id="23" name="object 23"/>
          <p:cNvSpPr/>
          <p:nvPr/>
        </p:nvSpPr>
        <p:spPr>
          <a:xfrm>
            <a:off x="4781550" y="3117850"/>
            <a:ext cx="1177925" cy="621030"/>
          </a:xfrm>
          <a:custGeom>
            <a:avLst/>
            <a:gdLst/>
            <a:ahLst/>
            <a:cxnLst/>
            <a:rect l="l" t="t" r="r" b="b"/>
            <a:pathLst>
              <a:path w="1177925" h="621029">
                <a:moveTo>
                  <a:pt x="0" y="310388"/>
                </a:moveTo>
                <a:lnTo>
                  <a:pt x="11964" y="247826"/>
                </a:lnTo>
                <a:lnTo>
                  <a:pt x="46279" y="189559"/>
                </a:lnTo>
                <a:lnTo>
                  <a:pt x="100579" y="136835"/>
                </a:lnTo>
                <a:lnTo>
                  <a:pt x="134484" y="112941"/>
                </a:lnTo>
                <a:lnTo>
                  <a:pt x="172497" y="90900"/>
                </a:lnTo>
                <a:lnTo>
                  <a:pt x="214324" y="70868"/>
                </a:lnTo>
                <a:lnTo>
                  <a:pt x="259667" y="53002"/>
                </a:lnTo>
                <a:lnTo>
                  <a:pt x="308232" y="37456"/>
                </a:lnTo>
                <a:lnTo>
                  <a:pt x="359723" y="24387"/>
                </a:lnTo>
                <a:lnTo>
                  <a:pt x="413843" y="13952"/>
                </a:lnTo>
                <a:lnTo>
                  <a:pt x="470298" y="6304"/>
                </a:lnTo>
                <a:lnTo>
                  <a:pt x="528790" y="1602"/>
                </a:lnTo>
                <a:lnTo>
                  <a:pt x="589026" y="0"/>
                </a:lnTo>
                <a:lnTo>
                  <a:pt x="649238" y="1602"/>
                </a:lnTo>
                <a:lnTo>
                  <a:pt x="707711" y="6304"/>
                </a:lnTo>
                <a:lnTo>
                  <a:pt x="764149" y="13952"/>
                </a:lnTo>
                <a:lnTo>
                  <a:pt x="818255" y="24387"/>
                </a:lnTo>
                <a:lnTo>
                  <a:pt x="869733" y="37456"/>
                </a:lnTo>
                <a:lnTo>
                  <a:pt x="918288" y="53002"/>
                </a:lnTo>
                <a:lnTo>
                  <a:pt x="963623" y="70868"/>
                </a:lnTo>
                <a:lnTo>
                  <a:pt x="1005443" y="90900"/>
                </a:lnTo>
                <a:lnTo>
                  <a:pt x="1043451" y="112941"/>
                </a:lnTo>
                <a:lnTo>
                  <a:pt x="1077352" y="136835"/>
                </a:lnTo>
                <a:lnTo>
                  <a:pt x="1106849" y="162426"/>
                </a:lnTo>
                <a:lnTo>
                  <a:pt x="1151449" y="218077"/>
                </a:lnTo>
                <a:lnTo>
                  <a:pt x="1174884" y="278648"/>
                </a:lnTo>
                <a:lnTo>
                  <a:pt x="1177925" y="310388"/>
                </a:lnTo>
                <a:lnTo>
                  <a:pt x="1174884" y="342106"/>
                </a:lnTo>
                <a:lnTo>
                  <a:pt x="1165960" y="372913"/>
                </a:lnTo>
                <a:lnTo>
                  <a:pt x="1131647" y="431163"/>
                </a:lnTo>
                <a:lnTo>
                  <a:pt x="1077352" y="483885"/>
                </a:lnTo>
                <a:lnTo>
                  <a:pt x="1043451" y="507782"/>
                </a:lnTo>
                <a:lnTo>
                  <a:pt x="1005443" y="529828"/>
                </a:lnTo>
                <a:lnTo>
                  <a:pt x="963623" y="549866"/>
                </a:lnTo>
                <a:lnTo>
                  <a:pt x="918288" y="567740"/>
                </a:lnTo>
                <a:lnTo>
                  <a:pt x="869733" y="583293"/>
                </a:lnTo>
                <a:lnTo>
                  <a:pt x="818255" y="596370"/>
                </a:lnTo>
                <a:lnTo>
                  <a:pt x="764149" y="606813"/>
                </a:lnTo>
                <a:lnTo>
                  <a:pt x="707711" y="614465"/>
                </a:lnTo>
                <a:lnTo>
                  <a:pt x="649238" y="619172"/>
                </a:lnTo>
                <a:lnTo>
                  <a:pt x="589026" y="620776"/>
                </a:lnTo>
                <a:lnTo>
                  <a:pt x="528790" y="619172"/>
                </a:lnTo>
                <a:lnTo>
                  <a:pt x="470298" y="614465"/>
                </a:lnTo>
                <a:lnTo>
                  <a:pt x="413843" y="606813"/>
                </a:lnTo>
                <a:lnTo>
                  <a:pt x="359723" y="596370"/>
                </a:lnTo>
                <a:lnTo>
                  <a:pt x="308232" y="583293"/>
                </a:lnTo>
                <a:lnTo>
                  <a:pt x="259667" y="567740"/>
                </a:lnTo>
                <a:lnTo>
                  <a:pt x="214324" y="549866"/>
                </a:lnTo>
                <a:lnTo>
                  <a:pt x="172497" y="529828"/>
                </a:lnTo>
                <a:lnTo>
                  <a:pt x="134484" y="507782"/>
                </a:lnTo>
                <a:lnTo>
                  <a:pt x="100579" y="483885"/>
                </a:lnTo>
                <a:lnTo>
                  <a:pt x="71079" y="458293"/>
                </a:lnTo>
                <a:lnTo>
                  <a:pt x="26475" y="402650"/>
                </a:lnTo>
                <a:lnTo>
                  <a:pt x="3040" y="342106"/>
                </a:lnTo>
                <a:lnTo>
                  <a:pt x="0" y="310388"/>
                </a:lnTo>
                <a:close/>
              </a:path>
            </a:pathLst>
          </a:custGeom>
          <a:ln w="12700">
            <a:solidFill>
              <a:srgbClr val="DBFFC8"/>
            </a:solidFill>
          </a:ln>
        </p:spPr>
        <p:txBody>
          <a:bodyPr wrap="square" lIns="0" tIns="0" rIns="0" bIns="0" rtlCol="0"/>
          <a:lstStyle/>
          <a:p>
            <a:endParaRPr/>
          </a:p>
        </p:txBody>
      </p:sp>
      <p:sp>
        <p:nvSpPr>
          <p:cNvPr id="24" name="object 24"/>
          <p:cNvSpPr txBox="1"/>
          <p:nvPr/>
        </p:nvSpPr>
        <p:spPr>
          <a:xfrm>
            <a:off x="5058283" y="3147059"/>
            <a:ext cx="622935" cy="560705"/>
          </a:xfrm>
          <a:prstGeom prst="rect">
            <a:avLst/>
          </a:prstGeom>
        </p:spPr>
        <p:txBody>
          <a:bodyPr vert="horz" wrap="square" lIns="0" tIns="0" rIns="0" bIns="0" rtlCol="0">
            <a:spAutoFit/>
          </a:bodyPr>
          <a:lstStyle/>
          <a:p>
            <a:pPr marL="64135">
              <a:lnSpc>
                <a:spcPct val="100000"/>
              </a:lnSpc>
            </a:pPr>
            <a:r>
              <a:rPr sz="1800" b="1" spc="-5" dirty="0">
                <a:latin typeface="Times New Roman"/>
                <a:cs typeface="Times New Roman"/>
              </a:rPr>
              <a:t>Sales</a:t>
            </a:r>
            <a:endParaRPr sz="1800">
              <a:latin typeface="Times New Roman"/>
              <a:cs typeface="Times New Roman"/>
            </a:endParaRPr>
          </a:p>
          <a:p>
            <a:pPr marL="12700">
              <a:lnSpc>
                <a:spcPct val="100000"/>
              </a:lnSpc>
            </a:pPr>
            <a:r>
              <a:rPr sz="1800" b="1" dirty="0">
                <a:latin typeface="Times New Roman"/>
                <a:cs typeface="Times New Roman"/>
              </a:rPr>
              <a:t>Off</a:t>
            </a:r>
            <a:r>
              <a:rPr sz="1800" b="1" spc="5" dirty="0">
                <a:latin typeface="Times New Roman"/>
                <a:cs typeface="Times New Roman"/>
              </a:rPr>
              <a:t>i</a:t>
            </a:r>
            <a:r>
              <a:rPr sz="1800" b="1" dirty="0">
                <a:latin typeface="Times New Roman"/>
                <a:cs typeface="Times New Roman"/>
              </a:rPr>
              <a:t>ce</a:t>
            </a:r>
            <a:endParaRPr sz="1800">
              <a:latin typeface="Times New Roman"/>
              <a:cs typeface="Times New Roman"/>
            </a:endParaRPr>
          </a:p>
        </p:txBody>
      </p:sp>
      <p:sp>
        <p:nvSpPr>
          <p:cNvPr id="25" name="object 25"/>
          <p:cNvSpPr/>
          <p:nvPr/>
        </p:nvSpPr>
        <p:spPr>
          <a:xfrm>
            <a:off x="4502150" y="2009775"/>
            <a:ext cx="692150" cy="550926"/>
          </a:xfrm>
          <a:prstGeom prst="rect">
            <a:avLst/>
          </a:prstGeom>
          <a:blipFill>
            <a:blip r:embed="rId7" cstate="print"/>
            <a:stretch>
              <a:fillRect/>
            </a:stretch>
          </a:blipFill>
        </p:spPr>
        <p:txBody>
          <a:bodyPr wrap="square" lIns="0" tIns="0" rIns="0" bIns="0" rtlCol="0"/>
          <a:lstStyle/>
          <a:p>
            <a:endParaRPr/>
          </a:p>
        </p:txBody>
      </p:sp>
      <p:sp>
        <p:nvSpPr>
          <p:cNvPr id="26" name="object 26"/>
          <p:cNvSpPr/>
          <p:nvPr/>
        </p:nvSpPr>
        <p:spPr>
          <a:xfrm>
            <a:off x="4502150" y="2009775"/>
            <a:ext cx="692150" cy="551180"/>
          </a:xfrm>
          <a:custGeom>
            <a:avLst/>
            <a:gdLst/>
            <a:ahLst/>
            <a:cxnLst/>
            <a:rect l="l" t="t" r="r" b="b"/>
            <a:pathLst>
              <a:path w="692150" h="551180">
                <a:moveTo>
                  <a:pt x="0" y="275463"/>
                </a:moveTo>
                <a:lnTo>
                  <a:pt x="3752" y="234754"/>
                </a:lnTo>
                <a:lnTo>
                  <a:pt x="14652" y="195901"/>
                </a:lnTo>
                <a:lnTo>
                  <a:pt x="32164" y="159329"/>
                </a:lnTo>
                <a:lnTo>
                  <a:pt x="55754" y="125465"/>
                </a:lnTo>
                <a:lnTo>
                  <a:pt x="84885" y="94734"/>
                </a:lnTo>
                <a:lnTo>
                  <a:pt x="119023" y="67562"/>
                </a:lnTo>
                <a:lnTo>
                  <a:pt x="157632" y="44375"/>
                </a:lnTo>
                <a:lnTo>
                  <a:pt x="200177" y="25600"/>
                </a:lnTo>
                <a:lnTo>
                  <a:pt x="246122" y="11661"/>
                </a:lnTo>
                <a:lnTo>
                  <a:pt x="294933" y="2986"/>
                </a:lnTo>
                <a:lnTo>
                  <a:pt x="346075" y="0"/>
                </a:lnTo>
                <a:lnTo>
                  <a:pt x="397216" y="2986"/>
                </a:lnTo>
                <a:lnTo>
                  <a:pt x="446027" y="11661"/>
                </a:lnTo>
                <a:lnTo>
                  <a:pt x="491972" y="25600"/>
                </a:lnTo>
                <a:lnTo>
                  <a:pt x="534517" y="44375"/>
                </a:lnTo>
                <a:lnTo>
                  <a:pt x="573126" y="67562"/>
                </a:lnTo>
                <a:lnTo>
                  <a:pt x="607264" y="94734"/>
                </a:lnTo>
                <a:lnTo>
                  <a:pt x="636395" y="125465"/>
                </a:lnTo>
                <a:lnTo>
                  <a:pt x="659985" y="159329"/>
                </a:lnTo>
                <a:lnTo>
                  <a:pt x="677497" y="195901"/>
                </a:lnTo>
                <a:lnTo>
                  <a:pt x="688397" y="234754"/>
                </a:lnTo>
                <a:lnTo>
                  <a:pt x="692150" y="275463"/>
                </a:lnTo>
                <a:lnTo>
                  <a:pt x="688397" y="316171"/>
                </a:lnTo>
                <a:lnTo>
                  <a:pt x="677497" y="355024"/>
                </a:lnTo>
                <a:lnTo>
                  <a:pt x="659985" y="391596"/>
                </a:lnTo>
                <a:lnTo>
                  <a:pt x="636395" y="425460"/>
                </a:lnTo>
                <a:lnTo>
                  <a:pt x="607264" y="456191"/>
                </a:lnTo>
                <a:lnTo>
                  <a:pt x="573126" y="483363"/>
                </a:lnTo>
                <a:lnTo>
                  <a:pt x="534517" y="506550"/>
                </a:lnTo>
                <a:lnTo>
                  <a:pt x="491972" y="525325"/>
                </a:lnTo>
                <a:lnTo>
                  <a:pt x="446027" y="539264"/>
                </a:lnTo>
                <a:lnTo>
                  <a:pt x="397216" y="547939"/>
                </a:lnTo>
                <a:lnTo>
                  <a:pt x="346075" y="550926"/>
                </a:lnTo>
                <a:lnTo>
                  <a:pt x="294933" y="547939"/>
                </a:lnTo>
                <a:lnTo>
                  <a:pt x="246122" y="539264"/>
                </a:lnTo>
                <a:lnTo>
                  <a:pt x="200177" y="525325"/>
                </a:lnTo>
                <a:lnTo>
                  <a:pt x="157632" y="506550"/>
                </a:lnTo>
                <a:lnTo>
                  <a:pt x="119023" y="483363"/>
                </a:lnTo>
                <a:lnTo>
                  <a:pt x="84885" y="456191"/>
                </a:lnTo>
                <a:lnTo>
                  <a:pt x="55754" y="425460"/>
                </a:lnTo>
                <a:lnTo>
                  <a:pt x="32164" y="391596"/>
                </a:lnTo>
                <a:lnTo>
                  <a:pt x="14652" y="355024"/>
                </a:lnTo>
                <a:lnTo>
                  <a:pt x="3752" y="316171"/>
                </a:lnTo>
                <a:lnTo>
                  <a:pt x="0" y="275463"/>
                </a:lnTo>
                <a:close/>
              </a:path>
            </a:pathLst>
          </a:custGeom>
          <a:ln w="12700">
            <a:solidFill>
              <a:srgbClr val="FFFF00"/>
            </a:solidFill>
          </a:ln>
        </p:spPr>
        <p:txBody>
          <a:bodyPr wrap="square" lIns="0" tIns="0" rIns="0" bIns="0" rtlCol="0"/>
          <a:lstStyle/>
          <a:p>
            <a:endParaRPr/>
          </a:p>
        </p:txBody>
      </p:sp>
      <p:sp>
        <p:nvSpPr>
          <p:cNvPr id="27" name="object 27"/>
          <p:cNvSpPr txBox="1"/>
          <p:nvPr/>
        </p:nvSpPr>
        <p:spPr>
          <a:xfrm>
            <a:off x="4612640" y="2066797"/>
            <a:ext cx="473075" cy="438784"/>
          </a:xfrm>
          <a:prstGeom prst="rect">
            <a:avLst/>
          </a:prstGeom>
        </p:spPr>
        <p:txBody>
          <a:bodyPr vert="horz" wrap="square" lIns="0" tIns="0" rIns="0" bIns="0" rtlCol="0">
            <a:spAutoFit/>
          </a:bodyPr>
          <a:lstStyle/>
          <a:p>
            <a:pPr marL="12700" marR="5080" indent="28575">
              <a:lnSpc>
                <a:spcPct val="100000"/>
              </a:lnSpc>
            </a:pPr>
            <a:r>
              <a:rPr sz="1400" b="1" dirty="0">
                <a:latin typeface="Times New Roman"/>
                <a:cs typeface="Times New Roman"/>
              </a:rPr>
              <a:t>Sales  Grp</a:t>
            </a:r>
            <a:r>
              <a:rPr sz="1400" b="1" spc="-125" dirty="0">
                <a:latin typeface="Times New Roman"/>
                <a:cs typeface="Times New Roman"/>
              </a:rPr>
              <a:t> </a:t>
            </a:r>
            <a:r>
              <a:rPr sz="1400" b="1" dirty="0">
                <a:latin typeface="Times New Roman"/>
                <a:cs typeface="Times New Roman"/>
              </a:rPr>
              <a:t>1</a:t>
            </a:r>
            <a:endParaRPr sz="1400">
              <a:latin typeface="Times New Roman"/>
              <a:cs typeface="Times New Roman"/>
            </a:endParaRPr>
          </a:p>
        </p:txBody>
      </p:sp>
      <p:sp>
        <p:nvSpPr>
          <p:cNvPr id="28" name="object 28"/>
          <p:cNvSpPr/>
          <p:nvPr/>
        </p:nvSpPr>
        <p:spPr>
          <a:xfrm>
            <a:off x="5521325" y="2066925"/>
            <a:ext cx="692150" cy="550926"/>
          </a:xfrm>
          <a:prstGeom prst="rect">
            <a:avLst/>
          </a:prstGeom>
          <a:blipFill>
            <a:blip r:embed="rId7" cstate="print"/>
            <a:stretch>
              <a:fillRect/>
            </a:stretch>
          </a:blipFill>
        </p:spPr>
        <p:txBody>
          <a:bodyPr wrap="square" lIns="0" tIns="0" rIns="0" bIns="0" rtlCol="0"/>
          <a:lstStyle/>
          <a:p>
            <a:endParaRPr/>
          </a:p>
        </p:txBody>
      </p:sp>
      <p:sp>
        <p:nvSpPr>
          <p:cNvPr id="29" name="object 29"/>
          <p:cNvSpPr/>
          <p:nvPr/>
        </p:nvSpPr>
        <p:spPr>
          <a:xfrm>
            <a:off x="5521325" y="2066925"/>
            <a:ext cx="692150" cy="551180"/>
          </a:xfrm>
          <a:custGeom>
            <a:avLst/>
            <a:gdLst/>
            <a:ahLst/>
            <a:cxnLst/>
            <a:rect l="l" t="t" r="r" b="b"/>
            <a:pathLst>
              <a:path w="692150" h="551180">
                <a:moveTo>
                  <a:pt x="0" y="275463"/>
                </a:moveTo>
                <a:lnTo>
                  <a:pt x="3752" y="234754"/>
                </a:lnTo>
                <a:lnTo>
                  <a:pt x="14652" y="195901"/>
                </a:lnTo>
                <a:lnTo>
                  <a:pt x="32164" y="159329"/>
                </a:lnTo>
                <a:lnTo>
                  <a:pt x="55754" y="125465"/>
                </a:lnTo>
                <a:lnTo>
                  <a:pt x="84885" y="94734"/>
                </a:lnTo>
                <a:lnTo>
                  <a:pt x="119023" y="67562"/>
                </a:lnTo>
                <a:lnTo>
                  <a:pt x="157632" y="44375"/>
                </a:lnTo>
                <a:lnTo>
                  <a:pt x="200177" y="25600"/>
                </a:lnTo>
                <a:lnTo>
                  <a:pt x="246122" y="11661"/>
                </a:lnTo>
                <a:lnTo>
                  <a:pt x="294933" y="2986"/>
                </a:lnTo>
                <a:lnTo>
                  <a:pt x="346075" y="0"/>
                </a:lnTo>
                <a:lnTo>
                  <a:pt x="397216" y="2986"/>
                </a:lnTo>
                <a:lnTo>
                  <a:pt x="446027" y="11661"/>
                </a:lnTo>
                <a:lnTo>
                  <a:pt x="491972" y="25600"/>
                </a:lnTo>
                <a:lnTo>
                  <a:pt x="534517" y="44375"/>
                </a:lnTo>
                <a:lnTo>
                  <a:pt x="573126" y="67562"/>
                </a:lnTo>
                <a:lnTo>
                  <a:pt x="607264" y="94734"/>
                </a:lnTo>
                <a:lnTo>
                  <a:pt x="636395" y="125465"/>
                </a:lnTo>
                <a:lnTo>
                  <a:pt x="659985" y="159329"/>
                </a:lnTo>
                <a:lnTo>
                  <a:pt x="677497" y="195901"/>
                </a:lnTo>
                <a:lnTo>
                  <a:pt x="688397" y="234754"/>
                </a:lnTo>
                <a:lnTo>
                  <a:pt x="692150" y="275463"/>
                </a:lnTo>
                <a:lnTo>
                  <a:pt x="688397" y="316171"/>
                </a:lnTo>
                <a:lnTo>
                  <a:pt x="677497" y="355024"/>
                </a:lnTo>
                <a:lnTo>
                  <a:pt x="659985" y="391596"/>
                </a:lnTo>
                <a:lnTo>
                  <a:pt x="636395" y="425460"/>
                </a:lnTo>
                <a:lnTo>
                  <a:pt x="607264" y="456191"/>
                </a:lnTo>
                <a:lnTo>
                  <a:pt x="573126" y="483363"/>
                </a:lnTo>
                <a:lnTo>
                  <a:pt x="534517" y="506550"/>
                </a:lnTo>
                <a:lnTo>
                  <a:pt x="491972" y="525325"/>
                </a:lnTo>
                <a:lnTo>
                  <a:pt x="446027" y="539264"/>
                </a:lnTo>
                <a:lnTo>
                  <a:pt x="397216" y="547939"/>
                </a:lnTo>
                <a:lnTo>
                  <a:pt x="346075" y="550926"/>
                </a:lnTo>
                <a:lnTo>
                  <a:pt x="294933" y="547939"/>
                </a:lnTo>
                <a:lnTo>
                  <a:pt x="246122" y="539264"/>
                </a:lnTo>
                <a:lnTo>
                  <a:pt x="200177" y="525325"/>
                </a:lnTo>
                <a:lnTo>
                  <a:pt x="157632" y="506550"/>
                </a:lnTo>
                <a:lnTo>
                  <a:pt x="119023" y="483363"/>
                </a:lnTo>
                <a:lnTo>
                  <a:pt x="84885" y="456191"/>
                </a:lnTo>
                <a:lnTo>
                  <a:pt x="55754" y="425460"/>
                </a:lnTo>
                <a:lnTo>
                  <a:pt x="32164" y="391596"/>
                </a:lnTo>
                <a:lnTo>
                  <a:pt x="14652" y="355024"/>
                </a:lnTo>
                <a:lnTo>
                  <a:pt x="3752" y="316171"/>
                </a:lnTo>
                <a:lnTo>
                  <a:pt x="0" y="275463"/>
                </a:lnTo>
                <a:close/>
              </a:path>
            </a:pathLst>
          </a:custGeom>
          <a:ln w="12700">
            <a:solidFill>
              <a:srgbClr val="FFFF00"/>
            </a:solidFill>
          </a:ln>
        </p:spPr>
        <p:txBody>
          <a:bodyPr wrap="square" lIns="0" tIns="0" rIns="0" bIns="0" rtlCol="0"/>
          <a:lstStyle/>
          <a:p>
            <a:endParaRPr/>
          </a:p>
        </p:txBody>
      </p:sp>
      <p:sp>
        <p:nvSpPr>
          <p:cNvPr id="30" name="object 30"/>
          <p:cNvSpPr txBox="1"/>
          <p:nvPr/>
        </p:nvSpPr>
        <p:spPr>
          <a:xfrm>
            <a:off x="5632196" y="2123694"/>
            <a:ext cx="473075" cy="438784"/>
          </a:xfrm>
          <a:prstGeom prst="rect">
            <a:avLst/>
          </a:prstGeom>
        </p:spPr>
        <p:txBody>
          <a:bodyPr vert="horz" wrap="square" lIns="0" tIns="0" rIns="0" bIns="0" rtlCol="0">
            <a:spAutoFit/>
          </a:bodyPr>
          <a:lstStyle/>
          <a:p>
            <a:pPr marL="12700" marR="5080" indent="28575">
              <a:lnSpc>
                <a:spcPct val="100000"/>
              </a:lnSpc>
            </a:pPr>
            <a:r>
              <a:rPr sz="1400" b="1" dirty="0">
                <a:latin typeface="Times New Roman"/>
                <a:cs typeface="Times New Roman"/>
              </a:rPr>
              <a:t>Sales  Grp</a:t>
            </a:r>
            <a:r>
              <a:rPr sz="1400" b="1" spc="-125" dirty="0">
                <a:latin typeface="Times New Roman"/>
                <a:cs typeface="Times New Roman"/>
              </a:rPr>
              <a:t> </a:t>
            </a:r>
            <a:r>
              <a:rPr sz="1400" b="1" dirty="0">
                <a:latin typeface="Times New Roman"/>
                <a:cs typeface="Times New Roman"/>
              </a:rPr>
              <a:t>2</a:t>
            </a:r>
            <a:endParaRPr sz="1400">
              <a:latin typeface="Times New Roman"/>
              <a:cs typeface="Times New Roman"/>
            </a:endParaRPr>
          </a:p>
        </p:txBody>
      </p:sp>
      <p:sp>
        <p:nvSpPr>
          <p:cNvPr id="31" name="object 31"/>
          <p:cNvSpPr/>
          <p:nvPr/>
        </p:nvSpPr>
        <p:spPr>
          <a:xfrm>
            <a:off x="5628513" y="2600325"/>
            <a:ext cx="198120" cy="539115"/>
          </a:xfrm>
          <a:custGeom>
            <a:avLst/>
            <a:gdLst/>
            <a:ahLst/>
            <a:cxnLst/>
            <a:rect l="l" t="t" r="r" b="b"/>
            <a:pathLst>
              <a:path w="198120" h="539114">
                <a:moveTo>
                  <a:pt x="118408" y="113435"/>
                </a:moveTo>
                <a:lnTo>
                  <a:pt x="0" y="527685"/>
                </a:lnTo>
                <a:lnTo>
                  <a:pt x="39624" y="539114"/>
                </a:lnTo>
                <a:lnTo>
                  <a:pt x="158040" y="124716"/>
                </a:lnTo>
                <a:lnTo>
                  <a:pt x="118408" y="113435"/>
                </a:lnTo>
                <a:close/>
              </a:path>
              <a:path w="198120" h="539114">
                <a:moveTo>
                  <a:pt x="189778" y="93599"/>
                </a:moveTo>
                <a:lnTo>
                  <a:pt x="124078" y="93599"/>
                </a:lnTo>
                <a:lnTo>
                  <a:pt x="163702" y="104901"/>
                </a:lnTo>
                <a:lnTo>
                  <a:pt x="158040" y="124716"/>
                </a:lnTo>
                <a:lnTo>
                  <a:pt x="197738" y="136016"/>
                </a:lnTo>
                <a:lnTo>
                  <a:pt x="189778" y="93599"/>
                </a:lnTo>
                <a:close/>
              </a:path>
              <a:path w="198120" h="539114">
                <a:moveTo>
                  <a:pt x="124078" y="93599"/>
                </a:moveTo>
                <a:lnTo>
                  <a:pt x="118408" y="113435"/>
                </a:lnTo>
                <a:lnTo>
                  <a:pt x="158040" y="124716"/>
                </a:lnTo>
                <a:lnTo>
                  <a:pt x="163702" y="104901"/>
                </a:lnTo>
                <a:lnTo>
                  <a:pt x="124078" y="93599"/>
                </a:lnTo>
                <a:close/>
              </a:path>
              <a:path w="198120" h="539114">
                <a:moveTo>
                  <a:pt x="172212" y="0"/>
                </a:moveTo>
                <a:lnTo>
                  <a:pt x="78612" y="102108"/>
                </a:lnTo>
                <a:lnTo>
                  <a:pt x="118408" y="113435"/>
                </a:lnTo>
                <a:lnTo>
                  <a:pt x="124078" y="93599"/>
                </a:lnTo>
                <a:lnTo>
                  <a:pt x="189778" y="93599"/>
                </a:lnTo>
                <a:lnTo>
                  <a:pt x="172212" y="0"/>
                </a:lnTo>
                <a:close/>
              </a:path>
            </a:pathLst>
          </a:custGeom>
          <a:solidFill>
            <a:srgbClr val="000080"/>
          </a:solidFill>
        </p:spPr>
        <p:txBody>
          <a:bodyPr wrap="square" lIns="0" tIns="0" rIns="0" bIns="0" rtlCol="0"/>
          <a:lstStyle/>
          <a:p>
            <a:endParaRPr/>
          </a:p>
        </p:txBody>
      </p:sp>
      <p:sp>
        <p:nvSpPr>
          <p:cNvPr id="32" name="object 32"/>
          <p:cNvSpPr/>
          <p:nvPr/>
        </p:nvSpPr>
        <p:spPr>
          <a:xfrm>
            <a:off x="4870577" y="2538348"/>
            <a:ext cx="202565" cy="614680"/>
          </a:xfrm>
          <a:custGeom>
            <a:avLst/>
            <a:gdLst/>
            <a:ahLst/>
            <a:cxnLst/>
            <a:rect l="l" t="t" r="r" b="b"/>
            <a:pathLst>
              <a:path w="202564" h="614680">
                <a:moveTo>
                  <a:pt x="80074" y="115193"/>
                </a:moveTo>
                <a:lnTo>
                  <a:pt x="40067" y="125217"/>
                </a:lnTo>
                <a:lnTo>
                  <a:pt x="162433" y="614679"/>
                </a:lnTo>
                <a:lnTo>
                  <a:pt x="202437" y="604647"/>
                </a:lnTo>
                <a:lnTo>
                  <a:pt x="80074" y="115193"/>
                </a:lnTo>
                <a:close/>
              </a:path>
              <a:path w="202564" h="614680">
                <a:moveTo>
                  <a:pt x="29972" y="0"/>
                </a:moveTo>
                <a:lnTo>
                  <a:pt x="0" y="135254"/>
                </a:lnTo>
                <a:lnTo>
                  <a:pt x="40067" y="125217"/>
                </a:lnTo>
                <a:lnTo>
                  <a:pt x="35051" y="105155"/>
                </a:lnTo>
                <a:lnTo>
                  <a:pt x="75057" y="95123"/>
                </a:lnTo>
                <a:lnTo>
                  <a:pt x="111538" y="95123"/>
                </a:lnTo>
                <a:lnTo>
                  <a:pt x="29972" y="0"/>
                </a:lnTo>
                <a:close/>
              </a:path>
              <a:path w="202564" h="614680">
                <a:moveTo>
                  <a:pt x="75057" y="95123"/>
                </a:moveTo>
                <a:lnTo>
                  <a:pt x="35051" y="105155"/>
                </a:lnTo>
                <a:lnTo>
                  <a:pt x="40067" y="125217"/>
                </a:lnTo>
                <a:lnTo>
                  <a:pt x="80074" y="115193"/>
                </a:lnTo>
                <a:lnTo>
                  <a:pt x="75057" y="95123"/>
                </a:lnTo>
                <a:close/>
              </a:path>
              <a:path w="202564" h="614680">
                <a:moveTo>
                  <a:pt x="111538" y="95123"/>
                </a:moveTo>
                <a:lnTo>
                  <a:pt x="75057" y="95123"/>
                </a:lnTo>
                <a:lnTo>
                  <a:pt x="80074" y="115193"/>
                </a:lnTo>
                <a:lnTo>
                  <a:pt x="120142" y="105155"/>
                </a:lnTo>
                <a:lnTo>
                  <a:pt x="111538" y="95123"/>
                </a:lnTo>
                <a:close/>
              </a:path>
            </a:pathLst>
          </a:custGeom>
          <a:solidFill>
            <a:srgbClr val="000080"/>
          </a:solidFill>
        </p:spPr>
        <p:txBody>
          <a:bodyPr wrap="square" lIns="0" tIns="0" rIns="0" bIns="0" rtlCol="0"/>
          <a:lstStyle/>
          <a:p>
            <a:endParaRPr/>
          </a:p>
        </p:txBody>
      </p:sp>
      <p:sp>
        <p:nvSpPr>
          <p:cNvPr id="33" name="object 33"/>
          <p:cNvSpPr/>
          <p:nvPr/>
        </p:nvSpPr>
        <p:spPr>
          <a:xfrm>
            <a:off x="388467" y="1221994"/>
            <a:ext cx="3497707" cy="4112005"/>
          </a:xfrm>
          <a:prstGeom prst="rect">
            <a:avLst/>
          </a:prstGeom>
          <a:blipFill>
            <a:blip r:embed="rId8" cstate="print"/>
            <a:stretch>
              <a:fillRect/>
            </a:stretch>
          </a:blipFill>
        </p:spPr>
        <p:txBody>
          <a:bodyPr wrap="square" lIns="0" tIns="0" rIns="0" bIns="0" rtlCol="0"/>
          <a:lstStyle/>
          <a:p>
            <a:endParaRPr/>
          </a:p>
        </p:txBody>
      </p:sp>
      <p:sp>
        <p:nvSpPr>
          <p:cNvPr id="34" name="object 34"/>
          <p:cNvSpPr/>
          <p:nvPr/>
        </p:nvSpPr>
        <p:spPr>
          <a:xfrm>
            <a:off x="365125" y="1200150"/>
            <a:ext cx="3540125" cy="4152900"/>
          </a:xfrm>
          <a:custGeom>
            <a:avLst/>
            <a:gdLst/>
            <a:ahLst/>
            <a:cxnLst/>
            <a:rect l="l" t="t" r="r" b="b"/>
            <a:pathLst>
              <a:path w="3540125" h="4152900">
                <a:moveTo>
                  <a:pt x="0" y="4152900"/>
                </a:moveTo>
                <a:lnTo>
                  <a:pt x="3540125" y="4152900"/>
                </a:lnTo>
                <a:lnTo>
                  <a:pt x="3540125" y="0"/>
                </a:lnTo>
                <a:lnTo>
                  <a:pt x="0" y="0"/>
                </a:lnTo>
                <a:lnTo>
                  <a:pt x="0" y="4152900"/>
                </a:lnTo>
                <a:close/>
              </a:path>
            </a:pathLst>
          </a:custGeom>
          <a:ln w="38100">
            <a:solidFill>
              <a:srgbClr val="000000"/>
            </a:solidFill>
          </a:ln>
        </p:spPr>
        <p:txBody>
          <a:bodyPr wrap="square" lIns="0" tIns="0" rIns="0" bIns="0" rtlCol="0"/>
          <a:lstStyle/>
          <a:p>
            <a:endParaRPr/>
          </a:p>
        </p:txBody>
      </p:sp>
      <p:sp>
        <p:nvSpPr>
          <p:cNvPr id="35" name="object 35"/>
          <p:cNvSpPr/>
          <p:nvPr/>
        </p:nvSpPr>
        <p:spPr>
          <a:xfrm>
            <a:off x="464819" y="5334000"/>
            <a:ext cx="377952" cy="382524"/>
          </a:xfrm>
          <a:prstGeom prst="rect">
            <a:avLst/>
          </a:prstGeom>
          <a:blipFill>
            <a:blip r:embed="rId2" cstate="print"/>
            <a:stretch>
              <a:fillRect/>
            </a:stretch>
          </a:blipFill>
        </p:spPr>
        <p:txBody>
          <a:bodyPr wrap="square" lIns="0" tIns="0" rIns="0" bIns="0" rtlCol="0"/>
          <a:lstStyle/>
          <a:p>
            <a:endParaRPr/>
          </a:p>
        </p:txBody>
      </p:sp>
      <p:sp>
        <p:nvSpPr>
          <p:cNvPr id="36" name="object 36"/>
          <p:cNvSpPr txBox="1"/>
          <p:nvPr/>
        </p:nvSpPr>
        <p:spPr>
          <a:xfrm>
            <a:off x="599305" y="5732310"/>
            <a:ext cx="7414259" cy="498475"/>
          </a:xfrm>
          <a:prstGeom prst="rect">
            <a:avLst/>
          </a:prstGeom>
        </p:spPr>
        <p:txBody>
          <a:bodyPr vert="horz" wrap="square" lIns="0" tIns="0" rIns="0" bIns="0" rtlCol="0">
            <a:spAutoFit/>
          </a:bodyPr>
          <a:lstStyle/>
          <a:p>
            <a:pPr marL="12700">
              <a:lnSpc>
                <a:spcPct val="100000"/>
              </a:lnSpc>
            </a:pPr>
            <a:r>
              <a:rPr sz="1600" b="1" spc="-5" dirty="0">
                <a:latin typeface="Arial"/>
                <a:cs typeface="Arial"/>
              </a:rPr>
              <a:t>Display IMG </a:t>
            </a:r>
            <a:r>
              <a:rPr sz="1600" b="1" spc="-10" dirty="0">
                <a:latin typeface="Wingdings"/>
                <a:cs typeface="Wingdings"/>
              </a:rPr>
              <a:t></a:t>
            </a:r>
            <a:r>
              <a:rPr sz="1600" b="1" spc="-10" dirty="0">
                <a:latin typeface="Times New Roman"/>
                <a:cs typeface="Times New Roman"/>
              </a:rPr>
              <a:t> </a:t>
            </a:r>
            <a:r>
              <a:rPr sz="1600" b="1" spc="-5" dirty="0">
                <a:latin typeface="Arial"/>
                <a:cs typeface="Arial"/>
              </a:rPr>
              <a:t>Enterprise structure </a:t>
            </a:r>
            <a:r>
              <a:rPr sz="1600" b="1" spc="-10" dirty="0">
                <a:latin typeface="Wingdings"/>
                <a:cs typeface="Wingdings"/>
              </a:rPr>
              <a:t></a:t>
            </a:r>
            <a:r>
              <a:rPr sz="1600" b="1" spc="-10" dirty="0">
                <a:latin typeface="Times New Roman"/>
                <a:cs typeface="Times New Roman"/>
              </a:rPr>
              <a:t> </a:t>
            </a:r>
            <a:r>
              <a:rPr sz="1600" b="1" spc="-10" dirty="0">
                <a:latin typeface="Arial"/>
                <a:cs typeface="Arial"/>
              </a:rPr>
              <a:t>Assignment </a:t>
            </a:r>
            <a:r>
              <a:rPr sz="1600" b="1" spc="-10" dirty="0">
                <a:latin typeface="Wingdings"/>
                <a:cs typeface="Wingdings"/>
              </a:rPr>
              <a:t></a:t>
            </a:r>
            <a:r>
              <a:rPr sz="1600" b="1" spc="-10" dirty="0">
                <a:latin typeface="Times New Roman"/>
                <a:cs typeface="Times New Roman"/>
              </a:rPr>
              <a:t> </a:t>
            </a:r>
            <a:r>
              <a:rPr sz="1600" b="1" spc="-5" dirty="0">
                <a:latin typeface="Arial"/>
                <a:cs typeface="Arial"/>
              </a:rPr>
              <a:t>Sales &amp; Distribution</a:t>
            </a:r>
            <a:r>
              <a:rPr sz="1600" b="1" spc="409" dirty="0">
                <a:latin typeface="Arial"/>
                <a:cs typeface="Arial"/>
              </a:rPr>
              <a:t> </a:t>
            </a:r>
            <a:r>
              <a:rPr sz="1600" b="1" spc="-10" dirty="0">
                <a:latin typeface="Wingdings"/>
                <a:cs typeface="Wingdings"/>
              </a:rPr>
              <a:t></a:t>
            </a:r>
            <a:endParaRPr sz="1600" dirty="0">
              <a:latin typeface="Wingdings"/>
              <a:cs typeface="Wingdings"/>
            </a:endParaRPr>
          </a:p>
          <a:p>
            <a:pPr marL="355600">
              <a:lnSpc>
                <a:spcPct val="100000"/>
              </a:lnSpc>
            </a:pPr>
            <a:r>
              <a:rPr sz="1600" b="1" spc="-15" dirty="0">
                <a:latin typeface="Arial"/>
                <a:cs typeface="Arial"/>
              </a:rPr>
              <a:t>Assign </a:t>
            </a:r>
            <a:r>
              <a:rPr sz="1600" b="1" spc="-5" dirty="0">
                <a:latin typeface="Arial"/>
                <a:cs typeface="Arial"/>
              </a:rPr>
              <a:t>Sales Group to Sales</a:t>
            </a:r>
            <a:r>
              <a:rPr sz="1600" b="1" spc="75" dirty="0">
                <a:latin typeface="Arial"/>
                <a:cs typeface="Arial"/>
              </a:rPr>
              <a:t> </a:t>
            </a:r>
            <a:r>
              <a:rPr sz="1600" b="1" spc="-5" dirty="0">
                <a:latin typeface="Arial"/>
                <a:cs typeface="Arial"/>
              </a:rPr>
              <a:t>Office</a:t>
            </a:r>
            <a:endParaRPr sz="1600" dirty="0">
              <a:latin typeface="Arial"/>
              <a:cs typeface="Arial"/>
            </a:endParaRPr>
          </a:p>
        </p:txBody>
      </p:sp>
      <p:sp>
        <p:nvSpPr>
          <p:cNvPr id="38" name="object 38"/>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39</a:t>
            </a:fld>
            <a:endParaRPr sz="1200">
              <a:latin typeface="Symbol"/>
              <a:cs typeface="Symbo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Content Placeholder 2"/>
          <p:cNvSpPr>
            <a:spLocks noGrp="1"/>
          </p:cNvSpPr>
          <p:nvPr>
            <p:ph idx="1"/>
          </p:nvPr>
        </p:nvSpPr>
        <p:spPr>
          <a:xfrm>
            <a:off x="762000" y="1676400"/>
            <a:ext cx="5858210" cy="3231654"/>
          </a:xfrm>
        </p:spPr>
        <p:txBody>
          <a:bodyPr/>
          <a:lstStyle/>
          <a:p>
            <a:pPr marL="742950" lvl="1" indent="-285750" algn="l" rtl="0">
              <a:buClr>
                <a:srgbClr val="C00000"/>
              </a:buClr>
              <a:buFont typeface="Arial" panose="020B0604020202020204" pitchFamily="34" charset="0"/>
              <a:buChar char="•"/>
            </a:pPr>
            <a:r>
              <a:rPr lang="en-US" altLang="en-US" kern="1200" dirty="0" smtClean="0">
                <a:solidFill>
                  <a:schemeClr val="tx1"/>
                </a:solidFill>
              </a:rPr>
              <a:t>Assign Sales Organization and Distributional Channel to Plant</a:t>
            </a:r>
          </a:p>
          <a:p>
            <a:pPr marL="742950" lvl="1" indent="-285750" algn="l" rtl="0">
              <a:buClr>
                <a:srgbClr val="C00000"/>
              </a:buClr>
              <a:buFont typeface="Arial" panose="020B0604020202020204" pitchFamily="34" charset="0"/>
              <a:buChar char="•"/>
            </a:pPr>
            <a:r>
              <a:rPr lang="en-US" altLang="en-US" kern="1200" dirty="0" smtClean="0">
                <a:solidFill>
                  <a:schemeClr val="tx1"/>
                </a:solidFill>
              </a:rPr>
              <a:t>Shipping Point</a:t>
            </a:r>
          </a:p>
          <a:p>
            <a:pPr marL="742950" lvl="1" indent="-285750" algn="l" rtl="0">
              <a:buClr>
                <a:srgbClr val="C00000"/>
              </a:buClr>
              <a:buFont typeface="Arial" panose="020B0604020202020204" pitchFamily="34" charset="0"/>
              <a:buChar char="•"/>
            </a:pPr>
            <a:r>
              <a:rPr lang="en-US" altLang="en-US" kern="1200" dirty="0" smtClean="0">
                <a:solidFill>
                  <a:schemeClr val="tx1"/>
                </a:solidFill>
              </a:rPr>
              <a:t>Assign Shipping Point to Plant</a:t>
            </a:r>
          </a:p>
          <a:p>
            <a:pPr marL="742950" lvl="1" indent="-285750" algn="l" rtl="0">
              <a:buClr>
                <a:srgbClr val="C00000"/>
              </a:buClr>
              <a:buFont typeface="Arial" panose="020B0604020202020204" pitchFamily="34" charset="0"/>
              <a:buChar char="•"/>
            </a:pPr>
            <a:endParaRPr lang="en-US" altLang="en-US" kern="1200" dirty="0" smtClean="0">
              <a:solidFill>
                <a:schemeClr val="tx1"/>
              </a:solidFill>
            </a:endParaRPr>
          </a:p>
          <a:p>
            <a:pPr eaLnBrk="1" hangingPunct="1"/>
            <a:r>
              <a:rPr lang="en-US" dirty="0" smtClean="0"/>
              <a:t>Attributes </a:t>
            </a:r>
            <a:r>
              <a:rPr lang="en-US" dirty="0"/>
              <a:t>&amp; </a:t>
            </a:r>
            <a:r>
              <a:rPr lang="en-US" dirty="0" smtClean="0"/>
              <a:t>Application</a:t>
            </a:r>
          </a:p>
          <a:p>
            <a:pPr eaLnBrk="1" hangingPunct="1"/>
            <a:r>
              <a:rPr lang="en-US" dirty="0"/>
              <a:t>Transaction </a:t>
            </a:r>
            <a:r>
              <a:rPr lang="en-US" dirty="0" smtClean="0"/>
              <a:t>Codes</a:t>
            </a:r>
          </a:p>
          <a:p>
            <a:pPr eaLnBrk="1" hangingPunct="1"/>
            <a:r>
              <a:rPr lang="en-US" dirty="0"/>
              <a:t>Tips and </a:t>
            </a:r>
            <a:r>
              <a:rPr lang="en-US" dirty="0" smtClean="0"/>
              <a:t>Tricks</a:t>
            </a:r>
          </a:p>
          <a:p>
            <a:pPr eaLnBrk="1" hangingPunct="1"/>
            <a:r>
              <a:rPr lang="en-US" dirty="0"/>
              <a:t>Additional</a:t>
            </a:r>
            <a:r>
              <a:rPr lang="en-US" spc="-45" dirty="0"/>
              <a:t> </a:t>
            </a:r>
            <a:r>
              <a:rPr lang="en-US" dirty="0"/>
              <a:t>Information</a:t>
            </a:r>
            <a:endParaRPr lang="en-US" altLang="en-US" dirty="0" smtClean="0">
              <a:solidFill>
                <a:schemeClr val="tx1"/>
              </a:solidFill>
            </a:endParaRPr>
          </a:p>
          <a:p>
            <a:pPr marL="0" indent="0">
              <a:buNone/>
            </a:pPr>
            <a:r>
              <a:rPr lang="en-US" altLang="en-US" dirty="0" smtClean="0"/>
              <a:t>	</a:t>
            </a:r>
          </a:p>
        </p:txBody>
      </p:sp>
      <p:sp>
        <p:nvSpPr>
          <p:cNvPr id="2" name="Title 1"/>
          <p:cNvSpPr>
            <a:spLocks noGrp="1"/>
          </p:cNvSpPr>
          <p:nvPr>
            <p:ph type="title"/>
          </p:nvPr>
        </p:nvSpPr>
        <p:spPr>
          <a:xfrm>
            <a:off x="152400" y="228600"/>
            <a:ext cx="9144000" cy="492443"/>
          </a:xfrm>
        </p:spPr>
        <p:txBody>
          <a:bodyPr/>
          <a:lstStyle/>
          <a:p>
            <a:r>
              <a:rPr lang="en-US" sz="3200" dirty="0" smtClean="0"/>
              <a:t>Lesson Objectives</a:t>
            </a:r>
            <a:endParaRPr lang="en-US" sz="3200" dirty="0"/>
          </a:p>
        </p:txBody>
      </p:sp>
    </p:spTree>
    <p:extLst>
      <p:ext uri="{BB962C8B-B14F-4D97-AF65-F5344CB8AC3E}">
        <p14:creationId xmlns:p14="http://schemas.microsoft.com/office/powerpoint/2010/main" xmlns="" val="373434729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8404859" y="321563"/>
            <a:ext cx="673607" cy="582167"/>
          </a:xfrm>
          <a:prstGeom prst="rect">
            <a:avLst/>
          </a:prstGeom>
          <a:blipFill>
            <a:blip r:embed="rId2" cstate="print"/>
            <a:stretch>
              <a:fillRect/>
            </a:stretch>
          </a:blipFill>
        </p:spPr>
        <p:txBody>
          <a:bodyPr wrap="square" lIns="0" tIns="0" rIns="0" bIns="0" rtlCol="0"/>
          <a:lstStyle/>
          <a:p>
            <a:endParaRPr/>
          </a:p>
        </p:txBody>
      </p:sp>
      <p:sp>
        <p:nvSpPr>
          <p:cNvPr id="4" name="object 4"/>
          <p:cNvSpPr/>
          <p:nvPr/>
        </p:nvSpPr>
        <p:spPr>
          <a:xfrm>
            <a:off x="8602980" y="321563"/>
            <a:ext cx="541020" cy="582167"/>
          </a:xfrm>
          <a:prstGeom prst="rect">
            <a:avLst/>
          </a:prstGeom>
          <a:blipFill>
            <a:blip r:embed="rId3" cstate="print"/>
            <a:stretch>
              <a:fillRect/>
            </a:stretch>
          </a:blipFill>
        </p:spPr>
        <p:txBody>
          <a:bodyPr wrap="square" lIns="0" tIns="0" rIns="0" bIns="0" rtlCol="0"/>
          <a:lstStyle/>
          <a:p>
            <a:endParaRPr/>
          </a:p>
        </p:txBody>
      </p:sp>
      <p:sp>
        <p:nvSpPr>
          <p:cNvPr id="5" name="object 5"/>
          <p:cNvSpPr txBox="1">
            <a:spLocks noGrp="1"/>
          </p:cNvSpPr>
          <p:nvPr>
            <p:ph type="title"/>
          </p:nvPr>
        </p:nvSpPr>
        <p:spPr>
          <a:xfrm>
            <a:off x="23876" y="-25637"/>
            <a:ext cx="9144000" cy="1066958"/>
          </a:xfrm>
          <a:prstGeom prst="rect">
            <a:avLst/>
          </a:prstGeom>
        </p:spPr>
        <p:txBody>
          <a:bodyPr vert="horz" wrap="square" lIns="0" tIns="81279" rIns="0" bIns="0" rtlCol="0">
            <a:spAutoFit/>
          </a:bodyPr>
          <a:lstStyle/>
          <a:p>
            <a:r>
              <a:rPr dirty="0"/>
              <a:t>Assign Sales Organization and Distributional Channel to Plant</a:t>
            </a:r>
          </a:p>
        </p:txBody>
      </p:sp>
      <p:sp>
        <p:nvSpPr>
          <p:cNvPr id="6" name="object 6"/>
          <p:cNvSpPr/>
          <p:nvPr/>
        </p:nvSpPr>
        <p:spPr>
          <a:xfrm>
            <a:off x="4145279" y="3314700"/>
            <a:ext cx="414527" cy="420624"/>
          </a:xfrm>
          <a:prstGeom prst="rect">
            <a:avLst/>
          </a:prstGeom>
          <a:blipFill>
            <a:blip r:embed="rId4" cstate="print"/>
            <a:stretch>
              <a:fillRect/>
            </a:stretch>
          </a:blipFill>
        </p:spPr>
        <p:txBody>
          <a:bodyPr wrap="square" lIns="0" tIns="0" rIns="0" bIns="0" rtlCol="0"/>
          <a:lstStyle/>
          <a:p>
            <a:endParaRPr/>
          </a:p>
        </p:txBody>
      </p:sp>
      <p:sp>
        <p:nvSpPr>
          <p:cNvPr id="7" name="object 7"/>
          <p:cNvSpPr/>
          <p:nvPr/>
        </p:nvSpPr>
        <p:spPr>
          <a:xfrm>
            <a:off x="4038600" y="1219200"/>
            <a:ext cx="2362200" cy="2190750"/>
          </a:xfrm>
          <a:custGeom>
            <a:avLst/>
            <a:gdLst/>
            <a:ahLst/>
            <a:cxnLst/>
            <a:rect l="l" t="t" r="r" b="b"/>
            <a:pathLst>
              <a:path w="2362200" h="2190750">
                <a:moveTo>
                  <a:pt x="1181100" y="0"/>
                </a:moveTo>
                <a:lnTo>
                  <a:pt x="1131175" y="961"/>
                </a:lnTo>
                <a:lnTo>
                  <a:pt x="1081779" y="3818"/>
                </a:lnTo>
                <a:lnTo>
                  <a:pt x="1032951" y="8535"/>
                </a:lnTo>
                <a:lnTo>
                  <a:pt x="984733" y="15072"/>
                </a:lnTo>
                <a:lnTo>
                  <a:pt x="937167" y="23392"/>
                </a:lnTo>
                <a:lnTo>
                  <a:pt x="890292" y="33457"/>
                </a:lnTo>
                <a:lnTo>
                  <a:pt x="844151" y="45228"/>
                </a:lnTo>
                <a:lnTo>
                  <a:pt x="798783" y="58668"/>
                </a:lnTo>
                <a:lnTo>
                  <a:pt x="754230" y="73738"/>
                </a:lnTo>
                <a:lnTo>
                  <a:pt x="710534" y="90401"/>
                </a:lnTo>
                <a:lnTo>
                  <a:pt x="667734" y="108618"/>
                </a:lnTo>
                <a:lnTo>
                  <a:pt x="625872" y="128351"/>
                </a:lnTo>
                <a:lnTo>
                  <a:pt x="584990" y="149563"/>
                </a:lnTo>
                <a:lnTo>
                  <a:pt x="545127" y="172215"/>
                </a:lnTo>
                <a:lnTo>
                  <a:pt x="506325" y="196270"/>
                </a:lnTo>
                <a:lnTo>
                  <a:pt x="468626" y="221689"/>
                </a:lnTo>
                <a:lnTo>
                  <a:pt x="432069" y="248434"/>
                </a:lnTo>
                <a:lnTo>
                  <a:pt x="396697" y="276467"/>
                </a:lnTo>
                <a:lnTo>
                  <a:pt x="362549" y="305751"/>
                </a:lnTo>
                <a:lnTo>
                  <a:pt x="329668" y="336246"/>
                </a:lnTo>
                <a:lnTo>
                  <a:pt x="298093" y="367916"/>
                </a:lnTo>
                <a:lnTo>
                  <a:pt x="267867" y="400721"/>
                </a:lnTo>
                <a:lnTo>
                  <a:pt x="239029" y="434625"/>
                </a:lnTo>
                <a:lnTo>
                  <a:pt x="211622" y="469589"/>
                </a:lnTo>
                <a:lnTo>
                  <a:pt x="185686" y="505574"/>
                </a:lnTo>
                <a:lnTo>
                  <a:pt x="161261" y="542544"/>
                </a:lnTo>
                <a:lnTo>
                  <a:pt x="138390" y="580459"/>
                </a:lnTo>
                <a:lnTo>
                  <a:pt x="117113" y="619282"/>
                </a:lnTo>
                <a:lnTo>
                  <a:pt x="97471" y="658975"/>
                </a:lnTo>
                <a:lnTo>
                  <a:pt x="79505" y="699500"/>
                </a:lnTo>
                <a:lnTo>
                  <a:pt x="63256" y="740818"/>
                </a:lnTo>
                <a:lnTo>
                  <a:pt x="48765" y="782892"/>
                </a:lnTo>
                <a:lnTo>
                  <a:pt x="36073" y="825684"/>
                </a:lnTo>
                <a:lnTo>
                  <a:pt x="25222" y="869155"/>
                </a:lnTo>
                <a:lnTo>
                  <a:pt x="16251" y="913268"/>
                </a:lnTo>
                <a:lnTo>
                  <a:pt x="9202" y="957984"/>
                </a:lnTo>
                <a:lnTo>
                  <a:pt x="4117" y="1003266"/>
                </a:lnTo>
                <a:lnTo>
                  <a:pt x="1036" y="1049076"/>
                </a:lnTo>
                <a:lnTo>
                  <a:pt x="0" y="1095375"/>
                </a:lnTo>
                <a:lnTo>
                  <a:pt x="1036" y="1141673"/>
                </a:lnTo>
                <a:lnTo>
                  <a:pt x="4117" y="1187483"/>
                </a:lnTo>
                <a:lnTo>
                  <a:pt x="9202" y="1232765"/>
                </a:lnTo>
                <a:lnTo>
                  <a:pt x="16251" y="1277481"/>
                </a:lnTo>
                <a:lnTo>
                  <a:pt x="25222" y="1321594"/>
                </a:lnTo>
                <a:lnTo>
                  <a:pt x="36073" y="1365065"/>
                </a:lnTo>
                <a:lnTo>
                  <a:pt x="48765" y="1407857"/>
                </a:lnTo>
                <a:lnTo>
                  <a:pt x="63256" y="1449931"/>
                </a:lnTo>
                <a:lnTo>
                  <a:pt x="79505" y="1491249"/>
                </a:lnTo>
                <a:lnTo>
                  <a:pt x="97471" y="1531774"/>
                </a:lnTo>
                <a:lnTo>
                  <a:pt x="117113" y="1571467"/>
                </a:lnTo>
                <a:lnTo>
                  <a:pt x="138390" y="1610290"/>
                </a:lnTo>
                <a:lnTo>
                  <a:pt x="161261" y="1648205"/>
                </a:lnTo>
                <a:lnTo>
                  <a:pt x="185686" y="1685175"/>
                </a:lnTo>
                <a:lnTo>
                  <a:pt x="211622" y="1721160"/>
                </a:lnTo>
                <a:lnTo>
                  <a:pt x="239029" y="1756124"/>
                </a:lnTo>
                <a:lnTo>
                  <a:pt x="267867" y="1790028"/>
                </a:lnTo>
                <a:lnTo>
                  <a:pt x="298093" y="1822833"/>
                </a:lnTo>
                <a:lnTo>
                  <a:pt x="329668" y="1854503"/>
                </a:lnTo>
                <a:lnTo>
                  <a:pt x="362549" y="1884998"/>
                </a:lnTo>
                <a:lnTo>
                  <a:pt x="396697" y="1914282"/>
                </a:lnTo>
                <a:lnTo>
                  <a:pt x="432069" y="1942315"/>
                </a:lnTo>
                <a:lnTo>
                  <a:pt x="468626" y="1969060"/>
                </a:lnTo>
                <a:lnTo>
                  <a:pt x="506325" y="1994479"/>
                </a:lnTo>
                <a:lnTo>
                  <a:pt x="545127" y="2018534"/>
                </a:lnTo>
                <a:lnTo>
                  <a:pt x="584990" y="2041186"/>
                </a:lnTo>
                <a:lnTo>
                  <a:pt x="625872" y="2062398"/>
                </a:lnTo>
                <a:lnTo>
                  <a:pt x="667734" y="2082131"/>
                </a:lnTo>
                <a:lnTo>
                  <a:pt x="710534" y="2100348"/>
                </a:lnTo>
                <a:lnTo>
                  <a:pt x="754230" y="2117011"/>
                </a:lnTo>
                <a:lnTo>
                  <a:pt x="798783" y="2132081"/>
                </a:lnTo>
                <a:lnTo>
                  <a:pt x="844151" y="2145521"/>
                </a:lnTo>
                <a:lnTo>
                  <a:pt x="890292" y="2157292"/>
                </a:lnTo>
                <a:lnTo>
                  <a:pt x="937167" y="2167357"/>
                </a:lnTo>
                <a:lnTo>
                  <a:pt x="984733" y="2175677"/>
                </a:lnTo>
                <a:lnTo>
                  <a:pt x="1032951" y="2182214"/>
                </a:lnTo>
                <a:lnTo>
                  <a:pt x="1081779" y="2186931"/>
                </a:lnTo>
                <a:lnTo>
                  <a:pt x="1131175" y="2189788"/>
                </a:lnTo>
                <a:lnTo>
                  <a:pt x="1181100" y="2190750"/>
                </a:lnTo>
                <a:lnTo>
                  <a:pt x="1231024" y="2189788"/>
                </a:lnTo>
                <a:lnTo>
                  <a:pt x="1280420" y="2186931"/>
                </a:lnTo>
                <a:lnTo>
                  <a:pt x="1329248" y="2182214"/>
                </a:lnTo>
                <a:lnTo>
                  <a:pt x="1377466" y="2175677"/>
                </a:lnTo>
                <a:lnTo>
                  <a:pt x="1425032" y="2167357"/>
                </a:lnTo>
                <a:lnTo>
                  <a:pt x="1471907" y="2157292"/>
                </a:lnTo>
                <a:lnTo>
                  <a:pt x="1518048" y="2145521"/>
                </a:lnTo>
                <a:lnTo>
                  <a:pt x="1563416" y="2132081"/>
                </a:lnTo>
                <a:lnTo>
                  <a:pt x="1607969" y="2117011"/>
                </a:lnTo>
                <a:lnTo>
                  <a:pt x="1651665" y="2100348"/>
                </a:lnTo>
                <a:lnTo>
                  <a:pt x="1694465" y="2082131"/>
                </a:lnTo>
                <a:lnTo>
                  <a:pt x="1736327" y="2062398"/>
                </a:lnTo>
                <a:lnTo>
                  <a:pt x="1777209" y="2041186"/>
                </a:lnTo>
                <a:lnTo>
                  <a:pt x="1817072" y="2018534"/>
                </a:lnTo>
                <a:lnTo>
                  <a:pt x="1855874" y="1994479"/>
                </a:lnTo>
                <a:lnTo>
                  <a:pt x="1893573" y="1969060"/>
                </a:lnTo>
                <a:lnTo>
                  <a:pt x="1930130" y="1942315"/>
                </a:lnTo>
                <a:lnTo>
                  <a:pt x="1965502" y="1914282"/>
                </a:lnTo>
                <a:lnTo>
                  <a:pt x="1999650" y="1884998"/>
                </a:lnTo>
                <a:lnTo>
                  <a:pt x="2032531" y="1854503"/>
                </a:lnTo>
                <a:lnTo>
                  <a:pt x="2064106" y="1822833"/>
                </a:lnTo>
                <a:lnTo>
                  <a:pt x="2094332" y="1790028"/>
                </a:lnTo>
                <a:lnTo>
                  <a:pt x="2123170" y="1756124"/>
                </a:lnTo>
                <a:lnTo>
                  <a:pt x="2150577" y="1721160"/>
                </a:lnTo>
                <a:lnTo>
                  <a:pt x="2176513" y="1685175"/>
                </a:lnTo>
                <a:lnTo>
                  <a:pt x="2200938" y="1648205"/>
                </a:lnTo>
                <a:lnTo>
                  <a:pt x="2223809" y="1610290"/>
                </a:lnTo>
                <a:lnTo>
                  <a:pt x="2245086" y="1571467"/>
                </a:lnTo>
                <a:lnTo>
                  <a:pt x="2264728" y="1531774"/>
                </a:lnTo>
                <a:lnTo>
                  <a:pt x="2282694" y="1491249"/>
                </a:lnTo>
                <a:lnTo>
                  <a:pt x="2298943" y="1449931"/>
                </a:lnTo>
                <a:lnTo>
                  <a:pt x="2313434" y="1407857"/>
                </a:lnTo>
                <a:lnTo>
                  <a:pt x="2326126" y="1365065"/>
                </a:lnTo>
                <a:lnTo>
                  <a:pt x="2336977" y="1321594"/>
                </a:lnTo>
                <a:lnTo>
                  <a:pt x="2345948" y="1277481"/>
                </a:lnTo>
                <a:lnTo>
                  <a:pt x="2352997" y="1232765"/>
                </a:lnTo>
                <a:lnTo>
                  <a:pt x="2358082" y="1187483"/>
                </a:lnTo>
                <a:lnTo>
                  <a:pt x="2361163" y="1141673"/>
                </a:lnTo>
                <a:lnTo>
                  <a:pt x="2362200" y="1095375"/>
                </a:lnTo>
                <a:lnTo>
                  <a:pt x="2361163" y="1049076"/>
                </a:lnTo>
                <a:lnTo>
                  <a:pt x="2358082" y="1003266"/>
                </a:lnTo>
                <a:lnTo>
                  <a:pt x="2352997" y="957984"/>
                </a:lnTo>
                <a:lnTo>
                  <a:pt x="2345948" y="913268"/>
                </a:lnTo>
                <a:lnTo>
                  <a:pt x="2336977" y="869155"/>
                </a:lnTo>
                <a:lnTo>
                  <a:pt x="2326126" y="825684"/>
                </a:lnTo>
                <a:lnTo>
                  <a:pt x="2313434" y="782892"/>
                </a:lnTo>
                <a:lnTo>
                  <a:pt x="2298943" y="740818"/>
                </a:lnTo>
                <a:lnTo>
                  <a:pt x="2282694" y="699500"/>
                </a:lnTo>
                <a:lnTo>
                  <a:pt x="2264728" y="658975"/>
                </a:lnTo>
                <a:lnTo>
                  <a:pt x="2245086" y="619282"/>
                </a:lnTo>
                <a:lnTo>
                  <a:pt x="2223809" y="580459"/>
                </a:lnTo>
                <a:lnTo>
                  <a:pt x="2200938" y="542544"/>
                </a:lnTo>
                <a:lnTo>
                  <a:pt x="2176513" y="505574"/>
                </a:lnTo>
                <a:lnTo>
                  <a:pt x="2150577" y="469589"/>
                </a:lnTo>
                <a:lnTo>
                  <a:pt x="2123170" y="434625"/>
                </a:lnTo>
                <a:lnTo>
                  <a:pt x="2094332" y="400721"/>
                </a:lnTo>
                <a:lnTo>
                  <a:pt x="2064106" y="367916"/>
                </a:lnTo>
                <a:lnTo>
                  <a:pt x="2032531" y="336246"/>
                </a:lnTo>
                <a:lnTo>
                  <a:pt x="1999650" y="305751"/>
                </a:lnTo>
                <a:lnTo>
                  <a:pt x="1965502" y="276467"/>
                </a:lnTo>
                <a:lnTo>
                  <a:pt x="1930130" y="248434"/>
                </a:lnTo>
                <a:lnTo>
                  <a:pt x="1893573" y="221689"/>
                </a:lnTo>
                <a:lnTo>
                  <a:pt x="1855874" y="196270"/>
                </a:lnTo>
                <a:lnTo>
                  <a:pt x="1817072" y="172215"/>
                </a:lnTo>
                <a:lnTo>
                  <a:pt x="1777209" y="149563"/>
                </a:lnTo>
                <a:lnTo>
                  <a:pt x="1736327" y="128351"/>
                </a:lnTo>
                <a:lnTo>
                  <a:pt x="1694465" y="108618"/>
                </a:lnTo>
                <a:lnTo>
                  <a:pt x="1651665" y="90401"/>
                </a:lnTo>
                <a:lnTo>
                  <a:pt x="1607969" y="73738"/>
                </a:lnTo>
                <a:lnTo>
                  <a:pt x="1563416" y="58668"/>
                </a:lnTo>
                <a:lnTo>
                  <a:pt x="1518048" y="45228"/>
                </a:lnTo>
                <a:lnTo>
                  <a:pt x="1471907" y="33457"/>
                </a:lnTo>
                <a:lnTo>
                  <a:pt x="1425032" y="23392"/>
                </a:lnTo>
                <a:lnTo>
                  <a:pt x="1377466" y="15072"/>
                </a:lnTo>
                <a:lnTo>
                  <a:pt x="1329248" y="8535"/>
                </a:lnTo>
                <a:lnTo>
                  <a:pt x="1280420" y="3818"/>
                </a:lnTo>
                <a:lnTo>
                  <a:pt x="1231024" y="961"/>
                </a:lnTo>
                <a:lnTo>
                  <a:pt x="1181100" y="0"/>
                </a:lnTo>
                <a:close/>
              </a:path>
            </a:pathLst>
          </a:custGeom>
          <a:solidFill>
            <a:srgbClr val="AED6FF"/>
          </a:solidFill>
        </p:spPr>
        <p:txBody>
          <a:bodyPr wrap="square" lIns="0" tIns="0" rIns="0" bIns="0" rtlCol="0"/>
          <a:lstStyle/>
          <a:p>
            <a:endParaRPr/>
          </a:p>
        </p:txBody>
      </p:sp>
      <p:sp>
        <p:nvSpPr>
          <p:cNvPr id="8" name="object 8"/>
          <p:cNvSpPr/>
          <p:nvPr/>
        </p:nvSpPr>
        <p:spPr>
          <a:xfrm>
            <a:off x="4038600" y="1219200"/>
            <a:ext cx="2362200" cy="2190750"/>
          </a:xfrm>
          <a:custGeom>
            <a:avLst/>
            <a:gdLst/>
            <a:ahLst/>
            <a:cxnLst/>
            <a:rect l="l" t="t" r="r" b="b"/>
            <a:pathLst>
              <a:path w="2362200" h="2190750">
                <a:moveTo>
                  <a:pt x="0" y="1095375"/>
                </a:moveTo>
                <a:lnTo>
                  <a:pt x="1036" y="1049076"/>
                </a:lnTo>
                <a:lnTo>
                  <a:pt x="4117" y="1003266"/>
                </a:lnTo>
                <a:lnTo>
                  <a:pt x="9202" y="957984"/>
                </a:lnTo>
                <a:lnTo>
                  <a:pt x="16251" y="913268"/>
                </a:lnTo>
                <a:lnTo>
                  <a:pt x="25222" y="869155"/>
                </a:lnTo>
                <a:lnTo>
                  <a:pt x="36073" y="825684"/>
                </a:lnTo>
                <a:lnTo>
                  <a:pt x="48765" y="782892"/>
                </a:lnTo>
                <a:lnTo>
                  <a:pt x="63256" y="740818"/>
                </a:lnTo>
                <a:lnTo>
                  <a:pt x="79505" y="699500"/>
                </a:lnTo>
                <a:lnTo>
                  <a:pt x="97471" y="658975"/>
                </a:lnTo>
                <a:lnTo>
                  <a:pt x="117113" y="619282"/>
                </a:lnTo>
                <a:lnTo>
                  <a:pt x="138390" y="580459"/>
                </a:lnTo>
                <a:lnTo>
                  <a:pt x="161261" y="542544"/>
                </a:lnTo>
                <a:lnTo>
                  <a:pt x="185686" y="505574"/>
                </a:lnTo>
                <a:lnTo>
                  <a:pt x="211622" y="469589"/>
                </a:lnTo>
                <a:lnTo>
                  <a:pt x="239029" y="434625"/>
                </a:lnTo>
                <a:lnTo>
                  <a:pt x="267867" y="400721"/>
                </a:lnTo>
                <a:lnTo>
                  <a:pt x="298093" y="367916"/>
                </a:lnTo>
                <a:lnTo>
                  <a:pt x="329668" y="336246"/>
                </a:lnTo>
                <a:lnTo>
                  <a:pt x="362549" y="305751"/>
                </a:lnTo>
                <a:lnTo>
                  <a:pt x="396697" y="276467"/>
                </a:lnTo>
                <a:lnTo>
                  <a:pt x="432069" y="248434"/>
                </a:lnTo>
                <a:lnTo>
                  <a:pt x="468626" y="221689"/>
                </a:lnTo>
                <a:lnTo>
                  <a:pt x="506325" y="196270"/>
                </a:lnTo>
                <a:lnTo>
                  <a:pt x="545127" y="172215"/>
                </a:lnTo>
                <a:lnTo>
                  <a:pt x="584990" y="149563"/>
                </a:lnTo>
                <a:lnTo>
                  <a:pt x="625872" y="128351"/>
                </a:lnTo>
                <a:lnTo>
                  <a:pt x="667734" y="108618"/>
                </a:lnTo>
                <a:lnTo>
                  <a:pt x="710534" y="90401"/>
                </a:lnTo>
                <a:lnTo>
                  <a:pt x="754230" y="73738"/>
                </a:lnTo>
                <a:lnTo>
                  <a:pt x="798783" y="58668"/>
                </a:lnTo>
                <a:lnTo>
                  <a:pt x="844151" y="45228"/>
                </a:lnTo>
                <a:lnTo>
                  <a:pt x="890292" y="33457"/>
                </a:lnTo>
                <a:lnTo>
                  <a:pt x="937167" y="23392"/>
                </a:lnTo>
                <a:lnTo>
                  <a:pt x="984733" y="15072"/>
                </a:lnTo>
                <a:lnTo>
                  <a:pt x="1032951" y="8535"/>
                </a:lnTo>
                <a:lnTo>
                  <a:pt x="1081779" y="3818"/>
                </a:lnTo>
                <a:lnTo>
                  <a:pt x="1131175" y="961"/>
                </a:lnTo>
                <a:lnTo>
                  <a:pt x="1181100" y="0"/>
                </a:lnTo>
                <a:lnTo>
                  <a:pt x="1231024" y="961"/>
                </a:lnTo>
                <a:lnTo>
                  <a:pt x="1280420" y="3818"/>
                </a:lnTo>
                <a:lnTo>
                  <a:pt x="1329248" y="8535"/>
                </a:lnTo>
                <a:lnTo>
                  <a:pt x="1377466" y="15072"/>
                </a:lnTo>
                <a:lnTo>
                  <a:pt x="1425032" y="23392"/>
                </a:lnTo>
                <a:lnTo>
                  <a:pt x="1471907" y="33457"/>
                </a:lnTo>
                <a:lnTo>
                  <a:pt x="1518048" y="45228"/>
                </a:lnTo>
                <a:lnTo>
                  <a:pt x="1563416" y="58668"/>
                </a:lnTo>
                <a:lnTo>
                  <a:pt x="1607969" y="73738"/>
                </a:lnTo>
                <a:lnTo>
                  <a:pt x="1651665" y="90401"/>
                </a:lnTo>
                <a:lnTo>
                  <a:pt x="1694465" y="108618"/>
                </a:lnTo>
                <a:lnTo>
                  <a:pt x="1736327" y="128351"/>
                </a:lnTo>
                <a:lnTo>
                  <a:pt x="1777209" y="149563"/>
                </a:lnTo>
                <a:lnTo>
                  <a:pt x="1817072" y="172215"/>
                </a:lnTo>
                <a:lnTo>
                  <a:pt x="1855874" y="196270"/>
                </a:lnTo>
                <a:lnTo>
                  <a:pt x="1893573" y="221689"/>
                </a:lnTo>
                <a:lnTo>
                  <a:pt x="1930130" y="248434"/>
                </a:lnTo>
                <a:lnTo>
                  <a:pt x="1965502" y="276467"/>
                </a:lnTo>
                <a:lnTo>
                  <a:pt x="1999650" y="305751"/>
                </a:lnTo>
                <a:lnTo>
                  <a:pt x="2032531" y="336246"/>
                </a:lnTo>
                <a:lnTo>
                  <a:pt x="2064106" y="367916"/>
                </a:lnTo>
                <a:lnTo>
                  <a:pt x="2094332" y="400721"/>
                </a:lnTo>
                <a:lnTo>
                  <a:pt x="2123170" y="434625"/>
                </a:lnTo>
                <a:lnTo>
                  <a:pt x="2150577" y="469589"/>
                </a:lnTo>
                <a:lnTo>
                  <a:pt x="2176513" y="505574"/>
                </a:lnTo>
                <a:lnTo>
                  <a:pt x="2200938" y="542544"/>
                </a:lnTo>
                <a:lnTo>
                  <a:pt x="2223809" y="580459"/>
                </a:lnTo>
                <a:lnTo>
                  <a:pt x="2245086" y="619282"/>
                </a:lnTo>
                <a:lnTo>
                  <a:pt x="2264728" y="658975"/>
                </a:lnTo>
                <a:lnTo>
                  <a:pt x="2282694" y="699500"/>
                </a:lnTo>
                <a:lnTo>
                  <a:pt x="2298943" y="740818"/>
                </a:lnTo>
                <a:lnTo>
                  <a:pt x="2313434" y="782892"/>
                </a:lnTo>
                <a:lnTo>
                  <a:pt x="2326126" y="825684"/>
                </a:lnTo>
                <a:lnTo>
                  <a:pt x="2336977" y="869155"/>
                </a:lnTo>
                <a:lnTo>
                  <a:pt x="2345948" y="913268"/>
                </a:lnTo>
                <a:lnTo>
                  <a:pt x="2352997" y="957984"/>
                </a:lnTo>
                <a:lnTo>
                  <a:pt x="2358082" y="1003266"/>
                </a:lnTo>
                <a:lnTo>
                  <a:pt x="2361163" y="1049076"/>
                </a:lnTo>
                <a:lnTo>
                  <a:pt x="2362200" y="1095375"/>
                </a:lnTo>
                <a:lnTo>
                  <a:pt x="2361163" y="1141673"/>
                </a:lnTo>
                <a:lnTo>
                  <a:pt x="2358082" y="1187483"/>
                </a:lnTo>
                <a:lnTo>
                  <a:pt x="2352997" y="1232765"/>
                </a:lnTo>
                <a:lnTo>
                  <a:pt x="2345948" y="1277481"/>
                </a:lnTo>
                <a:lnTo>
                  <a:pt x="2336977" y="1321594"/>
                </a:lnTo>
                <a:lnTo>
                  <a:pt x="2326126" y="1365065"/>
                </a:lnTo>
                <a:lnTo>
                  <a:pt x="2313434" y="1407857"/>
                </a:lnTo>
                <a:lnTo>
                  <a:pt x="2298943" y="1449931"/>
                </a:lnTo>
                <a:lnTo>
                  <a:pt x="2282694" y="1491249"/>
                </a:lnTo>
                <a:lnTo>
                  <a:pt x="2264728" y="1531774"/>
                </a:lnTo>
                <a:lnTo>
                  <a:pt x="2245086" y="1571467"/>
                </a:lnTo>
                <a:lnTo>
                  <a:pt x="2223809" y="1610290"/>
                </a:lnTo>
                <a:lnTo>
                  <a:pt x="2200938" y="1648205"/>
                </a:lnTo>
                <a:lnTo>
                  <a:pt x="2176513" y="1685175"/>
                </a:lnTo>
                <a:lnTo>
                  <a:pt x="2150577" y="1721160"/>
                </a:lnTo>
                <a:lnTo>
                  <a:pt x="2123170" y="1756124"/>
                </a:lnTo>
                <a:lnTo>
                  <a:pt x="2094332" y="1790028"/>
                </a:lnTo>
                <a:lnTo>
                  <a:pt x="2064106" y="1822833"/>
                </a:lnTo>
                <a:lnTo>
                  <a:pt x="2032531" y="1854503"/>
                </a:lnTo>
                <a:lnTo>
                  <a:pt x="1999650" y="1884998"/>
                </a:lnTo>
                <a:lnTo>
                  <a:pt x="1965502" y="1914282"/>
                </a:lnTo>
                <a:lnTo>
                  <a:pt x="1930130" y="1942315"/>
                </a:lnTo>
                <a:lnTo>
                  <a:pt x="1893573" y="1969060"/>
                </a:lnTo>
                <a:lnTo>
                  <a:pt x="1855874" y="1994479"/>
                </a:lnTo>
                <a:lnTo>
                  <a:pt x="1817072" y="2018534"/>
                </a:lnTo>
                <a:lnTo>
                  <a:pt x="1777209" y="2041186"/>
                </a:lnTo>
                <a:lnTo>
                  <a:pt x="1736327" y="2062398"/>
                </a:lnTo>
                <a:lnTo>
                  <a:pt x="1694465" y="2082131"/>
                </a:lnTo>
                <a:lnTo>
                  <a:pt x="1651665" y="2100348"/>
                </a:lnTo>
                <a:lnTo>
                  <a:pt x="1607969" y="2117011"/>
                </a:lnTo>
                <a:lnTo>
                  <a:pt x="1563416" y="2132081"/>
                </a:lnTo>
                <a:lnTo>
                  <a:pt x="1518048" y="2145521"/>
                </a:lnTo>
                <a:lnTo>
                  <a:pt x="1471907" y="2157292"/>
                </a:lnTo>
                <a:lnTo>
                  <a:pt x="1425032" y="2167357"/>
                </a:lnTo>
                <a:lnTo>
                  <a:pt x="1377466" y="2175677"/>
                </a:lnTo>
                <a:lnTo>
                  <a:pt x="1329248" y="2182214"/>
                </a:lnTo>
                <a:lnTo>
                  <a:pt x="1280420" y="2186931"/>
                </a:lnTo>
                <a:lnTo>
                  <a:pt x="1231024" y="2189788"/>
                </a:lnTo>
                <a:lnTo>
                  <a:pt x="1181100" y="2190750"/>
                </a:lnTo>
                <a:lnTo>
                  <a:pt x="1131175" y="2189788"/>
                </a:lnTo>
                <a:lnTo>
                  <a:pt x="1081779" y="2186931"/>
                </a:lnTo>
                <a:lnTo>
                  <a:pt x="1032951" y="2182214"/>
                </a:lnTo>
                <a:lnTo>
                  <a:pt x="984733" y="2175677"/>
                </a:lnTo>
                <a:lnTo>
                  <a:pt x="937167" y="2167357"/>
                </a:lnTo>
                <a:lnTo>
                  <a:pt x="890292" y="2157292"/>
                </a:lnTo>
                <a:lnTo>
                  <a:pt x="844151" y="2145521"/>
                </a:lnTo>
                <a:lnTo>
                  <a:pt x="798783" y="2132081"/>
                </a:lnTo>
                <a:lnTo>
                  <a:pt x="754230" y="2117011"/>
                </a:lnTo>
                <a:lnTo>
                  <a:pt x="710534" y="2100348"/>
                </a:lnTo>
                <a:lnTo>
                  <a:pt x="667734" y="2082131"/>
                </a:lnTo>
                <a:lnTo>
                  <a:pt x="625872" y="2062398"/>
                </a:lnTo>
                <a:lnTo>
                  <a:pt x="584990" y="2041186"/>
                </a:lnTo>
                <a:lnTo>
                  <a:pt x="545127" y="2018534"/>
                </a:lnTo>
                <a:lnTo>
                  <a:pt x="506325" y="1994479"/>
                </a:lnTo>
                <a:lnTo>
                  <a:pt x="468626" y="1969060"/>
                </a:lnTo>
                <a:lnTo>
                  <a:pt x="432069" y="1942315"/>
                </a:lnTo>
                <a:lnTo>
                  <a:pt x="396697" y="1914282"/>
                </a:lnTo>
                <a:lnTo>
                  <a:pt x="362549" y="1884998"/>
                </a:lnTo>
                <a:lnTo>
                  <a:pt x="329668" y="1854503"/>
                </a:lnTo>
                <a:lnTo>
                  <a:pt x="298093" y="1822833"/>
                </a:lnTo>
                <a:lnTo>
                  <a:pt x="267867" y="1790028"/>
                </a:lnTo>
                <a:lnTo>
                  <a:pt x="239029" y="1756124"/>
                </a:lnTo>
                <a:lnTo>
                  <a:pt x="211622" y="1721160"/>
                </a:lnTo>
                <a:lnTo>
                  <a:pt x="185686" y="1685175"/>
                </a:lnTo>
                <a:lnTo>
                  <a:pt x="161261" y="1648205"/>
                </a:lnTo>
                <a:lnTo>
                  <a:pt x="138390" y="1610290"/>
                </a:lnTo>
                <a:lnTo>
                  <a:pt x="117113" y="1571467"/>
                </a:lnTo>
                <a:lnTo>
                  <a:pt x="97471" y="1531774"/>
                </a:lnTo>
                <a:lnTo>
                  <a:pt x="79505" y="1491249"/>
                </a:lnTo>
                <a:lnTo>
                  <a:pt x="63256" y="1449931"/>
                </a:lnTo>
                <a:lnTo>
                  <a:pt x="48765" y="1407857"/>
                </a:lnTo>
                <a:lnTo>
                  <a:pt x="36073" y="1365065"/>
                </a:lnTo>
                <a:lnTo>
                  <a:pt x="25222" y="1321594"/>
                </a:lnTo>
                <a:lnTo>
                  <a:pt x="16251" y="1277481"/>
                </a:lnTo>
                <a:lnTo>
                  <a:pt x="9202" y="1232765"/>
                </a:lnTo>
                <a:lnTo>
                  <a:pt x="4117" y="1187483"/>
                </a:lnTo>
                <a:lnTo>
                  <a:pt x="1036" y="1141673"/>
                </a:lnTo>
                <a:lnTo>
                  <a:pt x="0" y="1095375"/>
                </a:lnTo>
                <a:close/>
              </a:path>
            </a:pathLst>
          </a:custGeom>
          <a:ln w="88900">
            <a:solidFill>
              <a:srgbClr val="000080"/>
            </a:solidFill>
          </a:ln>
        </p:spPr>
        <p:txBody>
          <a:bodyPr wrap="square" lIns="0" tIns="0" rIns="0" bIns="0" rtlCol="0"/>
          <a:lstStyle/>
          <a:p>
            <a:endParaRPr/>
          </a:p>
        </p:txBody>
      </p:sp>
      <p:sp>
        <p:nvSpPr>
          <p:cNvPr id="9" name="object 9"/>
          <p:cNvSpPr/>
          <p:nvPr/>
        </p:nvSpPr>
        <p:spPr>
          <a:xfrm>
            <a:off x="4595876" y="2689225"/>
            <a:ext cx="1177925" cy="620776"/>
          </a:xfrm>
          <a:prstGeom prst="rect">
            <a:avLst/>
          </a:prstGeom>
          <a:blipFill>
            <a:blip r:embed="rId5" cstate="print"/>
            <a:stretch>
              <a:fillRect/>
            </a:stretch>
          </a:blipFill>
        </p:spPr>
        <p:txBody>
          <a:bodyPr wrap="square" lIns="0" tIns="0" rIns="0" bIns="0" rtlCol="0"/>
          <a:lstStyle/>
          <a:p>
            <a:endParaRPr/>
          </a:p>
        </p:txBody>
      </p:sp>
      <p:sp>
        <p:nvSpPr>
          <p:cNvPr id="10" name="object 10"/>
          <p:cNvSpPr/>
          <p:nvPr/>
        </p:nvSpPr>
        <p:spPr>
          <a:xfrm>
            <a:off x="4595876" y="2689225"/>
            <a:ext cx="1177925" cy="621030"/>
          </a:xfrm>
          <a:custGeom>
            <a:avLst/>
            <a:gdLst/>
            <a:ahLst/>
            <a:cxnLst/>
            <a:rect l="l" t="t" r="r" b="b"/>
            <a:pathLst>
              <a:path w="1177925" h="621029">
                <a:moveTo>
                  <a:pt x="0" y="310388"/>
                </a:moveTo>
                <a:lnTo>
                  <a:pt x="11964" y="247826"/>
                </a:lnTo>
                <a:lnTo>
                  <a:pt x="46277" y="189559"/>
                </a:lnTo>
                <a:lnTo>
                  <a:pt x="100572" y="136835"/>
                </a:lnTo>
                <a:lnTo>
                  <a:pt x="134473" y="112941"/>
                </a:lnTo>
                <a:lnTo>
                  <a:pt x="172481" y="90900"/>
                </a:lnTo>
                <a:lnTo>
                  <a:pt x="214301" y="70868"/>
                </a:lnTo>
                <a:lnTo>
                  <a:pt x="259636" y="53002"/>
                </a:lnTo>
                <a:lnTo>
                  <a:pt x="308191" y="37456"/>
                </a:lnTo>
                <a:lnTo>
                  <a:pt x="359669" y="24387"/>
                </a:lnTo>
                <a:lnTo>
                  <a:pt x="413775" y="13952"/>
                </a:lnTo>
                <a:lnTo>
                  <a:pt x="470213" y="6304"/>
                </a:lnTo>
                <a:lnTo>
                  <a:pt x="528686" y="1602"/>
                </a:lnTo>
                <a:lnTo>
                  <a:pt x="588899" y="0"/>
                </a:lnTo>
                <a:lnTo>
                  <a:pt x="649113" y="1602"/>
                </a:lnTo>
                <a:lnTo>
                  <a:pt x="707590" y="6304"/>
                </a:lnTo>
                <a:lnTo>
                  <a:pt x="764033" y="13952"/>
                </a:lnTo>
                <a:lnTo>
                  <a:pt x="818147" y="24387"/>
                </a:lnTo>
                <a:lnTo>
                  <a:pt x="869635" y="37456"/>
                </a:lnTo>
                <a:lnTo>
                  <a:pt x="918201" y="53002"/>
                </a:lnTo>
                <a:lnTo>
                  <a:pt x="963548" y="70868"/>
                </a:lnTo>
                <a:lnTo>
                  <a:pt x="1005379" y="90900"/>
                </a:lnTo>
                <a:lnTo>
                  <a:pt x="1043399" y="112941"/>
                </a:lnTo>
                <a:lnTo>
                  <a:pt x="1077311" y="136835"/>
                </a:lnTo>
                <a:lnTo>
                  <a:pt x="1106820" y="162426"/>
                </a:lnTo>
                <a:lnTo>
                  <a:pt x="1151438" y="218077"/>
                </a:lnTo>
                <a:lnTo>
                  <a:pt x="1174883" y="278648"/>
                </a:lnTo>
                <a:lnTo>
                  <a:pt x="1177925" y="310388"/>
                </a:lnTo>
                <a:lnTo>
                  <a:pt x="1174883" y="342106"/>
                </a:lnTo>
                <a:lnTo>
                  <a:pt x="1165955" y="372913"/>
                </a:lnTo>
                <a:lnTo>
                  <a:pt x="1131627" y="431163"/>
                </a:lnTo>
                <a:lnTo>
                  <a:pt x="1077311" y="483885"/>
                </a:lnTo>
                <a:lnTo>
                  <a:pt x="1043399" y="507782"/>
                </a:lnTo>
                <a:lnTo>
                  <a:pt x="1005379" y="529828"/>
                </a:lnTo>
                <a:lnTo>
                  <a:pt x="963548" y="549866"/>
                </a:lnTo>
                <a:lnTo>
                  <a:pt x="918201" y="567740"/>
                </a:lnTo>
                <a:lnTo>
                  <a:pt x="869635" y="583293"/>
                </a:lnTo>
                <a:lnTo>
                  <a:pt x="818147" y="596370"/>
                </a:lnTo>
                <a:lnTo>
                  <a:pt x="764033" y="606813"/>
                </a:lnTo>
                <a:lnTo>
                  <a:pt x="707590" y="614465"/>
                </a:lnTo>
                <a:lnTo>
                  <a:pt x="649113" y="619172"/>
                </a:lnTo>
                <a:lnTo>
                  <a:pt x="588899" y="620776"/>
                </a:lnTo>
                <a:lnTo>
                  <a:pt x="528686" y="619172"/>
                </a:lnTo>
                <a:lnTo>
                  <a:pt x="470213" y="614465"/>
                </a:lnTo>
                <a:lnTo>
                  <a:pt x="413775" y="606813"/>
                </a:lnTo>
                <a:lnTo>
                  <a:pt x="359669" y="596370"/>
                </a:lnTo>
                <a:lnTo>
                  <a:pt x="308191" y="583293"/>
                </a:lnTo>
                <a:lnTo>
                  <a:pt x="259636" y="567740"/>
                </a:lnTo>
                <a:lnTo>
                  <a:pt x="214301" y="549866"/>
                </a:lnTo>
                <a:lnTo>
                  <a:pt x="172481" y="529828"/>
                </a:lnTo>
                <a:lnTo>
                  <a:pt x="134473" y="507782"/>
                </a:lnTo>
                <a:lnTo>
                  <a:pt x="100572" y="483885"/>
                </a:lnTo>
                <a:lnTo>
                  <a:pt x="71075" y="458293"/>
                </a:lnTo>
                <a:lnTo>
                  <a:pt x="26475" y="402650"/>
                </a:lnTo>
                <a:lnTo>
                  <a:pt x="3040" y="342106"/>
                </a:lnTo>
                <a:lnTo>
                  <a:pt x="0" y="310388"/>
                </a:lnTo>
                <a:close/>
              </a:path>
            </a:pathLst>
          </a:custGeom>
          <a:ln w="12700">
            <a:solidFill>
              <a:srgbClr val="DBFFC8"/>
            </a:solidFill>
          </a:ln>
        </p:spPr>
        <p:txBody>
          <a:bodyPr wrap="square" lIns="0" tIns="0" rIns="0" bIns="0" rtlCol="0"/>
          <a:lstStyle/>
          <a:p>
            <a:endParaRPr/>
          </a:p>
        </p:txBody>
      </p:sp>
      <p:sp>
        <p:nvSpPr>
          <p:cNvPr id="11" name="object 11"/>
          <p:cNvSpPr txBox="1"/>
          <p:nvPr/>
        </p:nvSpPr>
        <p:spPr>
          <a:xfrm>
            <a:off x="4911978" y="2855340"/>
            <a:ext cx="547370" cy="286385"/>
          </a:xfrm>
          <a:prstGeom prst="rect">
            <a:avLst/>
          </a:prstGeom>
        </p:spPr>
        <p:txBody>
          <a:bodyPr vert="horz" wrap="square" lIns="0" tIns="0" rIns="0" bIns="0" rtlCol="0">
            <a:spAutoFit/>
          </a:bodyPr>
          <a:lstStyle/>
          <a:p>
            <a:pPr marL="12700">
              <a:lnSpc>
                <a:spcPct val="100000"/>
              </a:lnSpc>
            </a:pPr>
            <a:r>
              <a:rPr sz="1800" b="1" dirty="0">
                <a:latin typeface="Times New Roman"/>
                <a:cs typeface="Times New Roman"/>
              </a:rPr>
              <a:t>P</a:t>
            </a:r>
            <a:r>
              <a:rPr sz="1800" b="1" spc="5" dirty="0">
                <a:latin typeface="Times New Roman"/>
                <a:cs typeface="Times New Roman"/>
              </a:rPr>
              <a:t>l</a:t>
            </a:r>
            <a:r>
              <a:rPr sz="1800" b="1" dirty="0">
                <a:latin typeface="Times New Roman"/>
                <a:cs typeface="Times New Roman"/>
              </a:rPr>
              <a:t>ant</a:t>
            </a:r>
            <a:endParaRPr sz="1800">
              <a:latin typeface="Times New Roman"/>
              <a:cs typeface="Times New Roman"/>
            </a:endParaRPr>
          </a:p>
        </p:txBody>
      </p:sp>
      <p:sp>
        <p:nvSpPr>
          <p:cNvPr id="12" name="object 12"/>
          <p:cNvSpPr/>
          <p:nvPr/>
        </p:nvSpPr>
        <p:spPr>
          <a:xfrm>
            <a:off x="5316346" y="2286000"/>
            <a:ext cx="246379" cy="391795"/>
          </a:xfrm>
          <a:custGeom>
            <a:avLst/>
            <a:gdLst/>
            <a:ahLst/>
            <a:cxnLst/>
            <a:rect l="l" t="t" r="r" b="b"/>
            <a:pathLst>
              <a:path w="246379" h="391794">
                <a:moveTo>
                  <a:pt x="164871" y="95586"/>
                </a:moveTo>
                <a:lnTo>
                  <a:pt x="0" y="370332"/>
                </a:lnTo>
                <a:lnTo>
                  <a:pt x="35305" y="391667"/>
                </a:lnTo>
                <a:lnTo>
                  <a:pt x="200184" y="116791"/>
                </a:lnTo>
                <a:lnTo>
                  <a:pt x="164871" y="95586"/>
                </a:lnTo>
                <a:close/>
              </a:path>
              <a:path w="246379" h="391794">
                <a:moveTo>
                  <a:pt x="240236" y="77850"/>
                </a:moveTo>
                <a:lnTo>
                  <a:pt x="175513" y="77850"/>
                </a:lnTo>
                <a:lnTo>
                  <a:pt x="210819" y="99060"/>
                </a:lnTo>
                <a:lnTo>
                  <a:pt x="200184" y="116791"/>
                </a:lnTo>
                <a:lnTo>
                  <a:pt x="235585" y="138049"/>
                </a:lnTo>
                <a:lnTo>
                  <a:pt x="240236" y="77850"/>
                </a:lnTo>
                <a:close/>
              </a:path>
              <a:path w="246379" h="391794">
                <a:moveTo>
                  <a:pt x="175513" y="77850"/>
                </a:moveTo>
                <a:lnTo>
                  <a:pt x="164871" y="95586"/>
                </a:lnTo>
                <a:lnTo>
                  <a:pt x="200184" y="116791"/>
                </a:lnTo>
                <a:lnTo>
                  <a:pt x="210819" y="99060"/>
                </a:lnTo>
                <a:lnTo>
                  <a:pt x="175513" y="77850"/>
                </a:lnTo>
                <a:close/>
              </a:path>
              <a:path w="246379" h="391794">
                <a:moveTo>
                  <a:pt x="246252" y="0"/>
                </a:moveTo>
                <a:lnTo>
                  <a:pt x="129412" y="74295"/>
                </a:lnTo>
                <a:lnTo>
                  <a:pt x="164871" y="95586"/>
                </a:lnTo>
                <a:lnTo>
                  <a:pt x="175513" y="77850"/>
                </a:lnTo>
                <a:lnTo>
                  <a:pt x="240236" y="77850"/>
                </a:lnTo>
                <a:lnTo>
                  <a:pt x="246252" y="0"/>
                </a:lnTo>
                <a:close/>
              </a:path>
            </a:pathLst>
          </a:custGeom>
          <a:solidFill>
            <a:srgbClr val="000080"/>
          </a:solidFill>
        </p:spPr>
        <p:txBody>
          <a:bodyPr wrap="square" lIns="0" tIns="0" rIns="0" bIns="0" rtlCol="0"/>
          <a:lstStyle/>
          <a:p>
            <a:endParaRPr/>
          </a:p>
        </p:txBody>
      </p:sp>
      <p:sp>
        <p:nvSpPr>
          <p:cNvPr id="13" name="object 13"/>
          <p:cNvSpPr/>
          <p:nvPr/>
        </p:nvSpPr>
        <p:spPr>
          <a:xfrm>
            <a:off x="4724400" y="2286000"/>
            <a:ext cx="246379" cy="391795"/>
          </a:xfrm>
          <a:custGeom>
            <a:avLst/>
            <a:gdLst/>
            <a:ahLst/>
            <a:cxnLst/>
            <a:rect l="l" t="t" r="r" b="b"/>
            <a:pathLst>
              <a:path w="246379" h="391794">
                <a:moveTo>
                  <a:pt x="81381" y="95586"/>
                </a:moveTo>
                <a:lnTo>
                  <a:pt x="46068" y="116791"/>
                </a:lnTo>
                <a:lnTo>
                  <a:pt x="210947" y="391667"/>
                </a:lnTo>
                <a:lnTo>
                  <a:pt x="246252" y="370332"/>
                </a:lnTo>
                <a:lnTo>
                  <a:pt x="81381" y="95586"/>
                </a:lnTo>
                <a:close/>
              </a:path>
              <a:path w="246379" h="391794">
                <a:moveTo>
                  <a:pt x="0" y="0"/>
                </a:moveTo>
                <a:lnTo>
                  <a:pt x="10667" y="138049"/>
                </a:lnTo>
                <a:lnTo>
                  <a:pt x="46068" y="116791"/>
                </a:lnTo>
                <a:lnTo>
                  <a:pt x="35433" y="99060"/>
                </a:lnTo>
                <a:lnTo>
                  <a:pt x="70738" y="77850"/>
                </a:lnTo>
                <a:lnTo>
                  <a:pt x="110918" y="77850"/>
                </a:lnTo>
                <a:lnTo>
                  <a:pt x="116839" y="74295"/>
                </a:lnTo>
                <a:lnTo>
                  <a:pt x="0" y="0"/>
                </a:lnTo>
                <a:close/>
              </a:path>
              <a:path w="246379" h="391794">
                <a:moveTo>
                  <a:pt x="70738" y="77850"/>
                </a:moveTo>
                <a:lnTo>
                  <a:pt x="35433" y="99060"/>
                </a:lnTo>
                <a:lnTo>
                  <a:pt x="46068" y="116791"/>
                </a:lnTo>
                <a:lnTo>
                  <a:pt x="81381" y="95586"/>
                </a:lnTo>
                <a:lnTo>
                  <a:pt x="70738" y="77850"/>
                </a:lnTo>
                <a:close/>
              </a:path>
              <a:path w="246379" h="391794">
                <a:moveTo>
                  <a:pt x="110918" y="77850"/>
                </a:moveTo>
                <a:lnTo>
                  <a:pt x="70738" y="77850"/>
                </a:lnTo>
                <a:lnTo>
                  <a:pt x="81381" y="95586"/>
                </a:lnTo>
                <a:lnTo>
                  <a:pt x="110918" y="77850"/>
                </a:lnTo>
                <a:close/>
              </a:path>
            </a:pathLst>
          </a:custGeom>
          <a:solidFill>
            <a:srgbClr val="000080"/>
          </a:solidFill>
        </p:spPr>
        <p:txBody>
          <a:bodyPr wrap="square" lIns="0" tIns="0" rIns="0" bIns="0" rtlCol="0"/>
          <a:lstStyle/>
          <a:p>
            <a:endParaRPr/>
          </a:p>
        </p:txBody>
      </p:sp>
      <p:sp>
        <p:nvSpPr>
          <p:cNvPr id="14" name="object 14"/>
          <p:cNvSpPr/>
          <p:nvPr/>
        </p:nvSpPr>
        <p:spPr>
          <a:xfrm>
            <a:off x="5310251" y="1628775"/>
            <a:ext cx="762000" cy="609600"/>
          </a:xfrm>
          <a:prstGeom prst="rect">
            <a:avLst/>
          </a:prstGeom>
          <a:blipFill>
            <a:blip r:embed="rId6" cstate="print"/>
            <a:stretch>
              <a:fillRect/>
            </a:stretch>
          </a:blipFill>
        </p:spPr>
        <p:txBody>
          <a:bodyPr wrap="square" lIns="0" tIns="0" rIns="0" bIns="0" rtlCol="0"/>
          <a:lstStyle/>
          <a:p>
            <a:endParaRPr/>
          </a:p>
        </p:txBody>
      </p:sp>
      <p:sp>
        <p:nvSpPr>
          <p:cNvPr id="15" name="object 15"/>
          <p:cNvSpPr txBox="1"/>
          <p:nvPr/>
        </p:nvSpPr>
        <p:spPr>
          <a:xfrm>
            <a:off x="5311266" y="1608328"/>
            <a:ext cx="760730" cy="652145"/>
          </a:xfrm>
          <a:prstGeom prst="rect">
            <a:avLst/>
          </a:prstGeom>
        </p:spPr>
        <p:txBody>
          <a:bodyPr vert="horz" wrap="square" lIns="0" tIns="0" rIns="0" bIns="0" rtlCol="0">
            <a:spAutoFit/>
          </a:bodyPr>
          <a:lstStyle/>
          <a:p>
            <a:pPr algn="ctr">
              <a:lnSpc>
                <a:spcPct val="100000"/>
              </a:lnSpc>
            </a:pPr>
            <a:r>
              <a:rPr sz="1400" b="1" dirty="0">
                <a:latin typeface="Times New Roman"/>
                <a:cs typeface="Times New Roman"/>
              </a:rPr>
              <a:t>Sales</a:t>
            </a:r>
            <a:r>
              <a:rPr sz="1400" b="1" spc="-120" dirty="0">
                <a:latin typeface="Times New Roman"/>
                <a:cs typeface="Times New Roman"/>
              </a:rPr>
              <a:t> </a:t>
            </a:r>
            <a:r>
              <a:rPr sz="1400" b="1" dirty="0">
                <a:latin typeface="Times New Roman"/>
                <a:cs typeface="Times New Roman"/>
              </a:rPr>
              <a:t>Org</a:t>
            </a:r>
            <a:endParaRPr sz="1400">
              <a:latin typeface="Times New Roman"/>
              <a:cs typeface="Times New Roman"/>
            </a:endParaRPr>
          </a:p>
          <a:p>
            <a:pPr marL="635" algn="ctr">
              <a:lnSpc>
                <a:spcPct val="100000"/>
              </a:lnSpc>
            </a:pPr>
            <a:r>
              <a:rPr sz="1400" b="1" dirty="0">
                <a:latin typeface="Times New Roman"/>
                <a:cs typeface="Times New Roman"/>
              </a:rPr>
              <a:t>+</a:t>
            </a:r>
            <a:endParaRPr sz="1400">
              <a:latin typeface="Times New Roman"/>
              <a:cs typeface="Times New Roman"/>
            </a:endParaRPr>
          </a:p>
          <a:p>
            <a:pPr marL="635" algn="ctr">
              <a:lnSpc>
                <a:spcPct val="100000"/>
              </a:lnSpc>
            </a:pPr>
            <a:r>
              <a:rPr sz="1400" b="1" spc="-5" dirty="0">
                <a:latin typeface="Times New Roman"/>
                <a:cs typeface="Times New Roman"/>
              </a:rPr>
              <a:t>Dist</a:t>
            </a:r>
            <a:r>
              <a:rPr sz="1400" b="1" spc="-105" dirty="0">
                <a:latin typeface="Times New Roman"/>
                <a:cs typeface="Times New Roman"/>
              </a:rPr>
              <a:t> </a:t>
            </a:r>
            <a:r>
              <a:rPr sz="1400" b="1" spc="-5" dirty="0">
                <a:latin typeface="Times New Roman"/>
                <a:cs typeface="Times New Roman"/>
              </a:rPr>
              <a:t>Chn</a:t>
            </a:r>
            <a:endParaRPr sz="1400">
              <a:latin typeface="Times New Roman"/>
              <a:cs typeface="Times New Roman"/>
            </a:endParaRPr>
          </a:p>
        </p:txBody>
      </p:sp>
      <p:sp>
        <p:nvSpPr>
          <p:cNvPr id="16" name="object 16"/>
          <p:cNvSpPr/>
          <p:nvPr/>
        </p:nvSpPr>
        <p:spPr>
          <a:xfrm>
            <a:off x="4438650" y="1581150"/>
            <a:ext cx="762000" cy="609600"/>
          </a:xfrm>
          <a:prstGeom prst="rect">
            <a:avLst/>
          </a:prstGeom>
          <a:blipFill>
            <a:blip r:embed="rId6" cstate="print"/>
            <a:stretch>
              <a:fillRect/>
            </a:stretch>
          </a:blipFill>
        </p:spPr>
        <p:txBody>
          <a:bodyPr wrap="square" lIns="0" tIns="0" rIns="0" bIns="0" rtlCol="0"/>
          <a:lstStyle/>
          <a:p>
            <a:endParaRPr/>
          </a:p>
        </p:txBody>
      </p:sp>
      <p:sp>
        <p:nvSpPr>
          <p:cNvPr id="17" name="object 17"/>
          <p:cNvSpPr txBox="1"/>
          <p:nvPr/>
        </p:nvSpPr>
        <p:spPr>
          <a:xfrm>
            <a:off x="4439539" y="1560829"/>
            <a:ext cx="760730" cy="652145"/>
          </a:xfrm>
          <a:prstGeom prst="rect">
            <a:avLst/>
          </a:prstGeom>
        </p:spPr>
        <p:txBody>
          <a:bodyPr vert="horz" wrap="square" lIns="0" tIns="0" rIns="0" bIns="0" rtlCol="0">
            <a:spAutoFit/>
          </a:bodyPr>
          <a:lstStyle/>
          <a:p>
            <a:pPr algn="ctr">
              <a:lnSpc>
                <a:spcPct val="100000"/>
              </a:lnSpc>
            </a:pPr>
            <a:r>
              <a:rPr sz="1400" b="1" dirty="0">
                <a:latin typeface="Times New Roman"/>
                <a:cs typeface="Times New Roman"/>
              </a:rPr>
              <a:t>Sales</a:t>
            </a:r>
            <a:r>
              <a:rPr sz="1400" b="1" spc="-120" dirty="0">
                <a:latin typeface="Times New Roman"/>
                <a:cs typeface="Times New Roman"/>
              </a:rPr>
              <a:t> </a:t>
            </a:r>
            <a:r>
              <a:rPr sz="1400" b="1" dirty="0">
                <a:latin typeface="Times New Roman"/>
                <a:cs typeface="Times New Roman"/>
              </a:rPr>
              <a:t>Org</a:t>
            </a:r>
            <a:endParaRPr sz="1400">
              <a:latin typeface="Times New Roman"/>
              <a:cs typeface="Times New Roman"/>
            </a:endParaRPr>
          </a:p>
          <a:p>
            <a:pPr marL="635" algn="ctr">
              <a:lnSpc>
                <a:spcPct val="100000"/>
              </a:lnSpc>
            </a:pPr>
            <a:r>
              <a:rPr sz="1400" b="1" dirty="0">
                <a:latin typeface="Times New Roman"/>
                <a:cs typeface="Times New Roman"/>
              </a:rPr>
              <a:t>+</a:t>
            </a:r>
            <a:endParaRPr sz="1400">
              <a:latin typeface="Times New Roman"/>
              <a:cs typeface="Times New Roman"/>
            </a:endParaRPr>
          </a:p>
          <a:p>
            <a:pPr marL="635" algn="ctr">
              <a:lnSpc>
                <a:spcPct val="100000"/>
              </a:lnSpc>
            </a:pPr>
            <a:r>
              <a:rPr sz="1400" b="1" spc="-5" dirty="0">
                <a:latin typeface="Times New Roman"/>
                <a:cs typeface="Times New Roman"/>
              </a:rPr>
              <a:t>Dist</a:t>
            </a:r>
            <a:r>
              <a:rPr sz="1400" b="1" spc="-105" dirty="0">
                <a:latin typeface="Times New Roman"/>
                <a:cs typeface="Times New Roman"/>
              </a:rPr>
              <a:t> </a:t>
            </a:r>
            <a:r>
              <a:rPr sz="1400" b="1" spc="-5" dirty="0">
                <a:latin typeface="Times New Roman"/>
                <a:cs typeface="Times New Roman"/>
              </a:rPr>
              <a:t>Chn</a:t>
            </a:r>
            <a:endParaRPr sz="1400">
              <a:latin typeface="Times New Roman"/>
              <a:cs typeface="Times New Roman"/>
            </a:endParaRPr>
          </a:p>
        </p:txBody>
      </p:sp>
      <p:sp>
        <p:nvSpPr>
          <p:cNvPr id="18" name="object 18"/>
          <p:cNvSpPr/>
          <p:nvPr/>
        </p:nvSpPr>
        <p:spPr>
          <a:xfrm>
            <a:off x="6629400" y="1219200"/>
            <a:ext cx="2209800" cy="2209800"/>
          </a:xfrm>
          <a:custGeom>
            <a:avLst/>
            <a:gdLst/>
            <a:ahLst/>
            <a:cxnLst/>
            <a:rect l="l" t="t" r="r" b="b"/>
            <a:pathLst>
              <a:path w="2209800" h="2209800">
                <a:moveTo>
                  <a:pt x="1104900" y="0"/>
                </a:moveTo>
                <a:lnTo>
                  <a:pt x="1056970" y="1020"/>
                </a:lnTo>
                <a:lnTo>
                  <a:pt x="1009562" y="4055"/>
                </a:lnTo>
                <a:lnTo>
                  <a:pt x="962718" y="9062"/>
                </a:lnTo>
                <a:lnTo>
                  <a:pt x="916478" y="16001"/>
                </a:lnTo>
                <a:lnTo>
                  <a:pt x="870883" y="24828"/>
                </a:lnTo>
                <a:lnTo>
                  <a:pt x="825977" y="35504"/>
                </a:lnTo>
                <a:lnTo>
                  <a:pt x="781799" y="47987"/>
                </a:lnTo>
                <a:lnTo>
                  <a:pt x="738392" y="62235"/>
                </a:lnTo>
                <a:lnTo>
                  <a:pt x="695796" y="78207"/>
                </a:lnTo>
                <a:lnTo>
                  <a:pt x="654054" y="95861"/>
                </a:lnTo>
                <a:lnTo>
                  <a:pt x="613207" y="115155"/>
                </a:lnTo>
                <a:lnTo>
                  <a:pt x="573295" y="136050"/>
                </a:lnTo>
                <a:lnTo>
                  <a:pt x="534362" y="158502"/>
                </a:lnTo>
                <a:lnTo>
                  <a:pt x="496447" y="182471"/>
                </a:lnTo>
                <a:lnTo>
                  <a:pt x="459593" y="207914"/>
                </a:lnTo>
                <a:lnTo>
                  <a:pt x="423841" y="234792"/>
                </a:lnTo>
                <a:lnTo>
                  <a:pt x="389232" y="263062"/>
                </a:lnTo>
                <a:lnTo>
                  <a:pt x="355809" y="292682"/>
                </a:lnTo>
                <a:lnTo>
                  <a:pt x="323611" y="323611"/>
                </a:lnTo>
                <a:lnTo>
                  <a:pt x="292682" y="355809"/>
                </a:lnTo>
                <a:lnTo>
                  <a:pt x="263062" y="389232"/>
                </a:lnTo>
                <a:lnTo>
                  <a:pt x="234792" y="423841"/>
                </a:lnTo>
                <a:lnTo>
                  <a:pt x="207914" y="459593"/>
                </a:lnTo>
                <a:lnTo>
                  <a:pt x="182471" y="496447"/>
                </a:lnTo>
                <a:lnTo>
                  <a:pt x="158502" y="534362"/>
                </a:lnTo>
                <a:lnTo>
                  <a:pt x="136050" y="573295"/>
                </a:lnTo>
                <a:lnTo>
                  <a:pt x="115155" y="613207"/>
                </a:lnTo>
                <a:lnTo>
                  <a:pt x="95861" y="654054"/>
                </a:lnTo>
                <a:lnTo>
                  <a:pt x="78207" y="695796"/>
                </a:lnTo>
                <a:lnTo>
                  <a:pt x="62235" y="738392"/>
                </a:lnTo>
                <a:lnTo>
                  <a:pt x="47987" y="781799"/>
                </a:lnTo>
                <a:lnTo>
                  <a:pt x="35504" y="825977"/>
                </a:lnTo>
                <a:lnTo>
                  <a:pt x="24828" y="870883"/>
                </a:lnTo>
                <a:lnTo>
                  <a:pt x="16001" y="916478"/>
                </a:lnTo>
                <a:lnTo>
                  <a:pt x="9062" y="962718"/>
                </a:lnTo>
                <a:lnTo>
                  <a:pt x="4055" y="1009562"/>
                </a:lnTo>
                <a:lnTo>
                  <a:pt x="1020" y="1056970"/>
                </a:lnTo>
                <a:lnTo>
                  <a:pt x="0" y="1104900"/>
                </a:lnTo>
                <a:lnTo>
                  <a:pt x="1020" y="1152829"/>
                </a:lnTo>
                <a:lnTo>
                  <a:pt x="4055" y="1200237"/>
                </a:lnTo>
                <a:lnTo>
                  <a:pt x="9062" y="1247081"/>
                </a:lnTo>
                <a:lnTo>
                  <a:pt x="16001" y="1293321"/>
                </a:lnTo>
                <a:lnTo>
                  <a:pt x="24828" y="1338916"/>
                </a:lnTo>
                <a:lnTo>
                  <a:pt x="35504" y="1383822"/>
                </a:lnTo>
                <a:lnTo>
                  <a:pt x="47987" y="1428000"/>
                </a:lnTo>
                <a:lnTo>
                  <a:pt x="62235" y="1471407"/>
                </a:lnTo>
                <a:lnTo>
                  <a:pt x="78207" y="1514003"/>
                </a:lnTo>
                <a:lnTo>
                  <a:pt x="95861" y="1555745"/>
                </a:lnTo>
                <a:lnTo>
                  <a:pt x="115155" y="1596592"/>
                </a:lnTo>
                <a:lnTo>
                  <a:pt x="136050" y="1636504"/>
                </a:lnTo>
                <a:lnTo>
                  <a:pt x="158502" y="1675437"/>
                </a:lnTo>
                <a:lnTo>
                  <a:pt x="182471" y="1713352"/>
                </a:lnTo>
                <a:lnTo>
                  <a:pt x="207914" y="1750206"/>
                </a:lnTo>
                <a:lnTo>
                  <a:pt x="234792" y="1785958"/>
                </a:lnTo>
                <a:lnTo>
                  <a:pt x="263062" y="1820567"/>
                </a:lnTo>
                <a:lnTo>
                  <a:pt x="292682" y="1853990"/>
                </a:lnTo>
                <a:lnTo>
                  <a:pt x="323611" y="1886188"/>
                </a:lnTo>
                <a:lnTo>
                  <a:pt x="355809" y="1917117"/>
                </a:lnTo>
                <a:lnTo>
                  <a:pt x="389232" y="1946737"/>
                </a:lnTo>
                <a:lnTo>
                  <a:pt x="423841" y="1975007"/>
                </a:lnTo>
                <a:lnTo>
                  <a:pt x="459593" y="2001885"/>
                </a:lnTo>
                <a:lnTo>
                  <a:pt x="496447" y="2027328"/>
                </a:lnTo>
                <a:lnTo>
                  <a:pt x="534362" y="2051297"/>
                </a:lnTo>
                <a:lnTo>
                  <a:pt x="573295" y="2073749"/>
                </a:lnTo>
                <a:lnTo>
                  <a:pt x="613207" y="2094644"/>
                </a:lnTo>
                <a:lnTo>
                  <a:pt x="654054" y="2113938"/>
                </a:lnTo>
                <a:lnTo>
                  <a:pt x="695796" y="2131592"/>
                </a:lnTo>
                <a:lnTo>
                  <a:pt x="738392" y="2147564"/>
                </a:lnTo>
                <a:lnTo>
                  <a:pt x="781799" y="2161812"/>
                </a:lnTo>
                <a:lnTo>
                  <a:pt x="825977" y="2174295"/>
                </a:lnTo>
                <a:lnTo>
                  <a:pt x="870883" y="2184971"/>
                </a:lnTo>
                <a:lnTo>
                  <a:pt x="916478" y="2193798"/>
                </a:lnTo>
                <a:lnTo>
                  <a:pt x="962718" y="2200737"/>
                </a:lnTo>
                <a:lnTo>
                  <a:pt x="1009562" y="2205744"/>
                </a:lnTo>
                <a:lnTo>
                  <a:pt x="1056970" y="2208779"/>
                </a:lnTo>
                <a:lnTo>
                  <a:pt x="1104900" y="2209800"/>
                </a:lnTo>
                <a:lnTo>
                  <a:pt x="1152829" y="2208779"/>
                </a:lnTo>
                <a:lnTo>
                  <a:pt x="1200237" y="2205744"/>
                </a:lnTo>
                <a:lnTo>
                  <a:pt x="1247081" y="2200737"/>
                </a:lnTo>
                <a:lnTo>
                  <a:pt x="1293321" y="2193798"/>
                </a:lnTo>
                <a:lnTo>
                  <a:pt x="1338916" y="2184971"/>
                </a:lnTo>
                <a:lnTo>
                  <a:pt x="1383822" y="2174295"/>
                </a:lnTo>
                <a:lnTo>
                  <a:pt x="1428000" y="2161812"/>
                </a:lnTo>
                <a:lnTo>
                  <a:pt x="1471407" y="2147564"/>
                </a:lnTo>
                <a:lnTo>
                  <a:pt x="1514003" y="2131592"/>
                </a:lnTo>
                <a:lnTo>
                  <a:pt x="1555745" y="2113938"/>
                </a:lnTo>
                <a:lnTo>
                  <a:pt x="1596592" y="2094644"/>
                </a:lnTo>
                <a:lnTo>
                  <a:pt x="1636504" y="2073749"/>
                </a:lnTo>
                <a:lnTo>
                  <a:pt x="1675437" y="2051297"/>
                </a:lnTo>
                <a:lnTo>
                  <a:pt x="1713352" y="2027328"/>
                </a:lnTo>
                <a:lnTo>
                  <a:pt x="1750206" y="2001885"/>
                </a:lnTo>
                <a:lnTo>
                  <a:pt x="1785958" y="1975007"/>
                </a:lnTo>
                <a:lnTo>
                  <a:pt x="1820567" y="1946737"/>
                </a:lnTo>
                <a:lnTo>
                  <a:pt x="1853990" y="1917117"/>
                </a:lnTo>
                <a:lnTo>
                  <a:pt x="1886188" y="1886188"/>
                </a:lnTo>
                <a:lnTo>
                  <a:pt x="1917117" y="1853990"/>
                </a:lnTo>
                <a:lnTo>
                  <a:pt x="1946737" y="1820567"/>
                </a:lnTo>
                <a:lnTo>
                  <a:pt x="1975007" y="1785958"/>
                </a:lnTo>
                <a:lnTo>
                  <a:pt x="2001885" y="1750206"/>
                </a:lnTo>
                <a:lnTo>
                  <a:pt x="2027328" y="1713352"/>
                </a:lnTo>
                <a:lnTo>
                  <a:pt x="2051297" y="1675437"/>
                </a:lnTo>
                <a:lnTo>
                  <a:pt x="2073749" y="1636504"/>
                </a:lnTo>
                <a:lnTo>
                  <a:pt x="2094644" y="1596592"/>
                </a:lnTo>
                <a:lnTo>
                  <a:pt x="2113938" y="1555745"/>
                </a:lnTo>
                <a:lnTo>
                  <a:pt x="2131592" y="1514003"/>
                </a:lnTo>
                <a:lnTo>
                  <a:pt x="2147564" y="1471407"/>
                </a:lnTo>
                <a:lnTo>
                  <a:pt x="2161812" y="1428000"/>
                </a:lnTo>
                <a:lnTo>
                  <a:pt x="2174295" y="1383822"/>
                </a:lnTo>
                <a:lnTo>
                  <a:pt x="2184971" y="1338916"/>
                </a:lnTo>
                <a:lnTo>
                  <a:pt x="2193798" y="1293321"/>
                </a:lnTo>
                <a:lnTo>
                  <a:pt x="2200737" y="1247081"/>
                </a:lnTo>
                <a:lnTo>
                  <a:pt x="2205744" y="1200237"/>
                </a:lnTo>
                <a:lnTo>
                  <a:pt x="2208779" y="1152829"/>
                </a:lnTo>
                <a:lnTo>
                  <a:pt x="2209800" y="1104900"/>
                </a:lnTo>
                <a:lnTo>
                  <a:pt x="2208779" y="1056970"/>
                </a:lnTo>
                <a:lnTo>
                  <a:pt x="2205744" y="1009562"/>
                </a:lnTo>
                <a:lnTo>
                  <a:pt x="2200737" y="962718"/>
                </a:lnTo>
                <a:lnTo>
                  <a:pt x="2193798" y="916478"/>
                </a:lnTo>
                <a:lnTo>
                  <a:pt x="2184971" y="870883"/>
                </a:lnTo>
                <a:lnTo>
                  <a:pt x="2174295" y="825977"/>
                </a:lnTo>
                <a:lnTo>
                  <a:pt x="2161812" y="781799"/>
                </a:lnTo>
                <a:lnTo>
                  <a:pt x="2147564" y="738392"/>
                </a:lnTo>
                <a:lnTo>
                  <a:pt x="2131592" y="695796"/>
                </a:lnTo>
                <a:lnTo>
                  <a:pt x="2113938" y="654054"/>
                </a:lnTo>
                <a:lnTo>
                  <a:pt x="2094644" y="613207"/>
                </a:lnTo>
                <a:lnTo>
                  <a:pt x="2073749" y="573295"/>
                </a:lnTo>
                <a:lnTo>
                  <a:pt x="2051297" y="534362"/>
                </a:lnTo>
                <a:lnTo>
                  <a:pt x="2027328" y="496447"/>
                </a:lnTo>
                <a:lnTo>
                  <a:pt x="2001885" y="459593"/>
                </a:lnTo>
                <a:lnTo>
                  <a:pt x="1975007" y="423841"/>
                </a:lnTo>
                <a:lnTo>
                  <a:pt x="1946737" y="389232"/>
                </a:lnTo>
                <a:lnTo>
                  <a:pt x="1917117" y="355809"/>
                </a:lnTo>
                <a:lnTo>
                  <a:pt x="1886188" y="323611"/>
                </a:lnTo>
                <a:lnTo>
                  <a:pt x="1853990" y="292682"/>
                </a:lnTo>
                <a:lnTo>
                  <a:pt x="1820567" y="263062"/>
                </a:lnTo>
                <a:lnTo>
                  <a:pt x="1785958" y="234792"/>
                </a:lnTo>
                <a:lnTo>
                  <a:pt x="1750206" y="207914"/>
                </a:lnTo>
                <a:lnTo>
                  <a:pt x="1713352" y="182471"/>
                </a:lnTo>
                <a:lnTo>
                  <a:pt x="1675437" y="158502"/>
                </a:lnTo>
                <a:lnTo>
                  <a:pt x="1636504" y="136050"/>
                </a:lnTo>
                <a:lnTo>
                  <a:pt x="1596592" y="115155"/>
                </a:lnTo>
                <a:lnTo>
                  <a:pt x="1555745" y="95861"/>
                </a:lnTo>
                <a:lnTo>
                  <a:pt x="1514003" y="78207"/>
                </a:lnTo>
                <a:lnTo>
                  <a:pt x="1471407" y="62235"/>
                </a:lnTo>
                <a:lnTo>
                  <a:pt x="1428000" y="47987"/>
                </a:lnTo>
                <a:lnTo>
                  <a:pt x="1383822" y="35504"/>
                </a:lnTo>
                <a:lnTo>
                  <a:pt x="1338916" y="24828"/>
                </a:lnTo>
                <a:lnTo>
                  <a:pt x="1293321" y="16001"/>
                </a:lnTo>
                <a:lnTo>
                  <a:pt x="1247081" y="9062"/>
                </a:lnTo>
                <a:lnTo>
                  <a:pt x="1200237" y="4055"/>
                </a:lnTo>
                <a:lnTo>
                  <a:pt x="1152829" y="1020"/>
                </a:lnTo>
                <a:lnTo>
                  <a:pt x="1104900" y="0"/>
                </a:lnTo>
                <a:close/>
              </a:path>
            </a:pathLst>
          </a:custGeom>
          <a:solidFill>
            <a:srgbClr val="AED6FF"/>
          </a:solidFill>
        </p:spPr>
        <p:txBody>
          <a:bodyPr wrap="square" lIns="0" tIns="0" rIns="0" bIns="0" rtlCol="0"/>
          <a:lstStyle/>
          <a:p>
            <a:endParaRPr/>
          </a:p>
        </p:txBody>
      </p:sp>
      <p:sp>
        <p:nvSpPr>
          <p:cNvPr id="19" name="object 19"/>
          <p:cNvSpPr/>
          <p:nvPr/>
        </p:nvSpPr>
        <p:spPr>
          <a:xfrm>
            <a:off x="6629400" y="1219200"/>
            <a:ext cx="2209800" cy="2209800"/>
          </a:xfrm>
          <a:custGeom>
            <a:avLst/>
            <a:gdLst/>
            <a:ahLst/>
            <a:cxnLst/>
            <a:rect l="l" t="t" r="r" b="b"/>
            <a:pathLst>
              <a:path w="2209800" h="2209800">
                <a:moveTo>
                  <a:pt x="0" y="1104900"/>
                </a:moveTo>
                <a:lnTo>
                  <a:pt x="1020" y="1056970"/>
                </a:lnTo>
                <a:lnTo>
                  <a:pt x="4055" y="1009562"/>
                </a:lnTo>
                <a:lnTo>
                  <a:pt x="9062" y="962718"/>
                </a:lnTo>
                <a:lnTo>
                  <a:pt x="16001" y="916478"/>
                </a:lnTo>
                <a:lnTo>
                  <a:pt x="24828" y="870883"/>
                </a:lnTo>
                <a:lnTo>
                  <a:pt x="35504" y="825977"/>
                </a:lnTo>
                <a:lnTo>
                  <a:pt x="47987" y="781799"/>
                </a:lnTo>
                <a:lnTo>
                  <a:pt x="62235" y="738392"/>
                </a:lnTo>
                <a:lnTo>
                  <a:pt x="78207" y="695796"/>
                </a:lnTo>
                <a:lnTo>
                  <a:pt x="95861" y="654054"/>
                </a:lnTo>
                <a:lnTo>
                  <a:pt x="115155" y="613207"/>
                </a:lnTo>
                <a:lnTo>
                  <a:pt x="136050" y="573295"/>
                </a:lnTo>
                <a:lnTo>
                  <a:pt x="158502" y="534362"/>
                </a:lnTo>
                <a:lnTo>
                  <a:pt x="182471" y="496447"/>
                </a:lnTo>
                <a:lnTo>
                  <a:pt x="207914" y="459593"/>
                </a:lnTo>
                <a:lnTo>
                  <a:pt x="234792" y="423841"/>
                </a:lnTo>
                <a:lnTo>
                  <a:pt x="263062" y="389232"/>
                </a:lnTo>
                <a:lnTo>
                  <a:pt x="292682" y="355809"/>
                </a:lnTo>
                <a:lnTo>
                  <a:pt x="323611" y="323611"/>
                </a:lnTo>
                <a:lnTo>
                  <a:pt x="355809" y="292682"/>
                </a:lnTo>
                <a:lnTo>
                  <a:pt x="389232" y="263062"/>
                </a:lnTo>
                <a:lnTo>
                  <a:pt x="423841" y="234792"/>
                </a:lnTo>
                <a:lnTo>
                  <a:pt x="459593" y="207914"/>
                </a:lnTo>
                <a:lnTo>
                  <a:pt x="496447" y="182471"/>
                </a:lnTo>
                <a:lnTo>
                  <a:pt x="534362" y="158502"/>
                </a:lnTo>
                <a:lnTo>
                  <a:pt x="573295" y="136050"/>
                </a:lnTo>
                <a:lnTo>
                  <a:pt x="613207" y="115155"/>
                </a:lnTo>
                <a:lnTo>
                  <a:pt x="654054" y="95861"/>
                </a:lnTo>
                <a:lnTo>
                  <a:pt x="695796" y="78207"/>
                </a:lnTo>
                <a:lnTo>
                  <a:pt x="738392" y="62235"/>
                </a:lnTo>
                <a:lnTo>
                  <a:pt x="781799" y="47987"/>
                </a:lnTo>
                <a:lnTo>
                  <a:pt x="825977" y="35504"/>
                </a:lnTo>
                <a:lnTo>
                  <a:pt x="870883" y="24828"/>
                </a:lnTo>
                <a:lnTo>
                  <a:pt x="916478" y="16001"/>
                </a:lnTo>
                <a:lnTo>
                  <a:pt x="962718" y="9062"/>
                </a:lnTo>
                <a:lnTo>
                  <a:pt x="1009562" y="4055"/>
                </a:lnTo>
                <a:lnTo>
                  <a:pt x="1056970" y="1020"/>
                </a:lnTo>
                <a:lnTo>
                  <a:pt x="1104900" y="0"/>
                </a:lnTo>
                <a:lnTo>
                  <a:pt x="1152829" y="1020"/>
                </a:lnTo>
                <a:lnTo>
                  <a:pt x="1200237" y="4055"/>
                </a:lnTo>
                <a:lnTo>
                  <a:pt x="1247081" y="9062"/>
                </a:lnTo>
                <a:lnTo>
                  <a:pt x="1293321" y="16001"/>
                </a:lnTo>
                <a:lnTo>
                  <a:pt x="1338916" y="24828"/>
                </a:lnTo>
                <a:lnTo>
                  <a:pt x="1383822" y="35504"/>
                </a:lnTo>
                <a:lnTo>
                  <a:pt x="1428000" y="47987"/>
                </a:lnTo>
                <a:lnTo>
                  <a:pt x="1471407" y="62235"/>
                </a:lnTo>
                <a:lnTo>
                  <a:pt x="1514003" y="78207"/>
                </a:lnTo>
                <a:lnTo>
                  <a:pt x="1555745" y="95861"/>
                </a:lnTo>
                <a:lnTo>
                  <a:pt x="1596592" y="115155"/>
                </a:lnTo>
                <a:lnTo>
                  <a:pt x="1636504" y="136050"/>
                </a:lnTo>
                <a:lnTo>
                  <a:pt x="1675437" y="158502"/>
                </a:lnTo>
                <a:lnTo>
                  <a:pt x="1713352" y="182471"/>
                </a:lnTo>
                <a:lnTo>
                  <a:pt x="1750206" y="207914"/>
                </a:lnTo>
                <a:lnTo>
                  <a:pt x="1785958" y="234792"/>
                </a:lnTo>
                <a:lnTo>
                  <a:pt x="1820567" y="263062"/>
                </a:lnTo>
                <a:lnTo>
                  <a:pt x="1853990" y="292682"/>
                </a:lnTo>
                <a:lnTo>
                  <a:pt x="1886188" y="323611"/>
                </a:lnTo>
                <a:lnTo>
                  <a:pt x="1917117" y="355809"/>
                </a:lnTo>
                <a:lnTo>
                  <a:pt x="1946737" y="389232"/>
                </a:lnTo>
                <a:lnTo>
                  <a:pt x="1975007" y="423841"/>
                </a:lnTo>
                <a:lnTo>
                  <a:pt x="2001885" y="459593"/>
                </a:lnTo>
                <a:lnTo>
                  <a:pt x="2027328" y="496447"/>
                </a:lnTo>
                <a:lnTo>
                  <a:pt x="2051297" y="534362"/>
                </a:lnTo>
                <a:lnTo>
                  <a:pt x="2073749" y="573295"/>
                </a:lnTo>
                <a:lnTo>
                  <a:pt x="2094644" y="613207"/>
                </a:lnTo>
                <a:lnTo>
                  <a:pt x="2113938" y="654054"/>
                </a:lnTo>
                <a:lnTo>
                  <a:pt x="2131592" y="695796"/>
                </a:lnTo>
                <a:lnTo>
                  <a:pt x="2147564" y="738392"/>
                </a:lnTo>
                <a:lnTo>
                  <a:pt x="2161812" y="781799"/>
                </a:lnTo>
                <a:lnTo>
                  <a:pt x="2174295" y="825977"/>
                </a:lnTo>
                <a:lnTo>
                  <a:pt x="2184971" y="870883"/>
                </a:lnTo>
                <a:lnTo>
                  <a:pt x="2193798" y="916478"/>
                </a:lnTo>
                <a:lnTo>
                  <a:pt x="2200737" y="962718"/>
                </a:lnTo>
                <a:lnTo>
                  <a:pt x="2205744" y="1009562"/>
                </a:lnTo>
                <a:lnTo>
                  <a:pt x="2208779" y="1056970"/>
                </a:lnTo>
                <a:lnTo>
                  <a:pt x="2209800" y="1104900"/>
                </a:lnTo>
                <a:lnTo>
                  <a:pt x="2208779" y="1152829"/>
                </a:lnTo>
                <a:lnTo>
                  <a:pt x="2205744" y="1200237"/>
                </a:lnTo>
                <a:lnTo>
                  <a:pt x="2200737" y="1247081"/>
                </a:lnTo>
                <a:lnTo>
                  <a:pt x="2193798" y="1293321"/>
                </a:lnTo>
                <a:lnTo>
                  <a:pt x="2184971" y="1338916"/>
                </a:lnTo>
                <a:lnTo>
                  <a:pt x="2174295" y="1383822"/>
                </a:lnTo>
                <a:lnTo>
                  <a:pt x="2161812" y="1428000"/>
                </a:lnTo>
                <a:lnTo>
                  <a:pt x="2147564" y="1471407"/>
                </a:lnTo>
                <a:lnTo>
                  <a:pt x="2131592" y="1514003"/>
                </a:lnTo>
                <a:lnTo>
                  <a:pt x="2113938" y="1555745"/>
                </a:lnTo>
                <a:lnTo>
                  <a:pt x="2094644" y="1596592"/>
                </a:lnTo>
                <a:lnTo>
                  <a:pt x="2073749" y="1636504"/>
                </a:lnTo>
                <a:lnTo>
                  <a:pt x="2051297" y="1675437"/>
                </a:lnTo>
                <a:lnTo>
                  <a:pt x="2027328" y="1713352"/>
                </a:lnTo>
                <a:lnTo>
                  <a:pt x="2001885" y="1750206"/>
                </a:lnTo>
                <a:lnTo>
                  <a:pt x="1975007" y="1785958"/>
                </a:lnTo>
                <a:lnTo>
                  <a:pt x="1946737" y="1820567"/>
                </a:lnTo>
                <a:lnTo>
                  <a:pt x="1917117" y="1853990"/>
                </a:lnTo>
                <a:lnTo>
                  <a:pt x="1886188" y="1886188"/>
                </a:lnTo>
                <a:lnTo>
                  <a:pt x="1853990" y="1917117"/>
                </a:lnTo>
                <a:lnTo>
                  <a:pt x="1820567" y="1946737"/>
                </a:lnTo>
                <a:lnTo>
                  <a:pt x="1785958" y="1975007"/>
                </a:lnTo>
                <a:lnTo>
                  <a:pt x="1750206" y="2001885"/>
                </a:lnTo>
                <a:lnTo>
                  <a:pt x="1713352" y="2027328"/>
                </a:lnTo>
                <a:lnTo>
                  <a:pt x="1675437" y="2051297"/>
                </a:lnTo>
                <a:lnTo>
                  <a:pt x="1636504" y="2073749"/>
                </a:lnTo>
                <a:lnTo>
                  <a:pt x="1596592" y="2094644"/>
                </a:lnTo>
                <a:lnTo>
                  <a:pt x="1555745" y="2113938"/>
                </a:lnTo>
                <a:lnTo>
                  <a:pt x="1514003" y="2131592"/>
                </a:lnTo>
                <a:lnTo>
                  <a:pt x="1471407" y="2147564"/>
                </a:lnTo>
                <a:lnTo>
                  <a:pt x="1428000" y="2161812"/>
                </a:lnTo>
                <a:lnTo>
                  <a:pt x="1383822" y="2174295"/>
                </a:lnTo>
                <a:lnTo>
                  <a:pt x="1338916" y="2184971"/>
                </a:lnTo>
                <a:lnTo>
                  <a:pt x="1293321" y="2193798"/>
                </a:lnTo>
                <a:lnTo>
                  <a:pt x="1247081" y="2200737"/>
                </a:lnTo>
                <a:lnTo>
                  <a:pt x="1200237" y="2205744"/>
                </a:lnTo>
                <a:lnTo>
                  <a:pt x="1152829" y="2208779"/>
                </a:lnTo>
                <a:lnTo>
                  <a:pt x="1104900" y="2209800"/>
                </a:lnTo>
                <a:lnTo>
                  <a:pt x="1056970" y="2208779"/>
                </a:lnTo>
                <a:lnTo>
                  <a:pt x="1009562" y="2205744"/>
                </a:lnTo>
                <a:lnTo>
                  <a:pt x="962718" y="2200737"/>
                </a:lnTo>
                <a:lnTo>
                  <a:pt x="916478" y="2193798"/>
                </a:lnTo>
                <a:lnTo>
                  <a:pt x="870883" y="2184971"/>
                </a:lnTo>
                <a:lnTo>
                  <a:pt x="825977" y="2174295"/>
                </a:lnTo>
                <a:lnTo>
                  <a:pt x="781799" y="2161812"/>
                </a:lnTo>
                <a:lnTo>
                  <a:pt x="738392" y="2147564"/>
                </a:lnTo>
                <a:lnTo>
                  <a:pt x="695796" y="2131592"/>
                </a:lnTo>
                <a:lnTo>
                  <a:pt x="654054" y="2113938"/>
                </a:lnTo>
                <a:lnTo>
                  <a:pt x="613207" y="2094644"/>
                </a:lnTo>
                <a:lnTo>
                  <a:pt x="573295" y="2073749"/>
                </a:lnTo>
                <a:lnTo>
                  <a:pt x="534362" y="2051297"/>
                </a:lnTo>
                <a:lnTo>
                  <a:pt x="496447" y="2027328"/>
                </a:lnTo>
                <a:lnTo>
                  <a:pt x="459593" y="2001885"/>
                </a:lnTo>
                <a:lnTo>
                  <a:pt x="423841" y="1975007"/>
                </a:lnTo>
                <a:lnTo>
                  <a:pt x="389232" y="1946737"/>
                </a:lnTo>
                <a:lnTo>
                  <a:pt x="355809" y="1917117"/>
                </a:lnTo>
                <a:lnTo>
                  <a:pt x="323611" y="1886188"/>
                </a:lnTo>
                <a:lnTo>
                  <a:pt x="292682" y="1853990"/>
                </a:lnTo>
                <a:lnTo>
                  <a:pt x="263062" y="1820567"/>
                </a:lnTo>
                <a:lnTo>
                  <a:pt x="234792" y="1785958"/>
                </a:lnTo>
                <a:lnTo>
                  <a:pt x="207914" y="1750206"/>
                </a:lnTo>
                <a:lnTo>
                  <a:pt x="182471" y="1713352"/>
                </a:lnTo>
                <a:lnTo>
                  <a:pt x="158502" y="1675437"/>
                </a:lnTo>
                <a:lnTo>
                  <a:pt x="136050" y="1636504"/>
                </a:lnTo>
                <a:lnTo>
                  <a:pt x="115155" y="1596592"/>
                </a:lnTo>
                <a:lnTo>
                  <a:pt x="95861" y="1555745"/>
                </a:lnTo>
                <a:lnTo>
                  <a:pt x="78207" y="1514003"/>
                </a:lnTo>
                <a:lnTo>
                  <a:pt x="62235" y="1471407"/>
                </a:lnTo>
                <a:lnTo>
                  <a:pt x="47987" y="1428000"/>
                </a:lnTo>
                <a:lnTo>
                  <a:pt x="35504" y="1383822"/>
                </a:lnTo>
                <a:lnTo>
                  <a:pt x="24828" y="1338916"/>
                </a:lnTo>
                <a:lnTo>
                  <a:pt x="16001" y="1293321"/>
                </a:lnTo>
                <a:lnTo>
                  <a:pt x="9062" y="1247081"/>
                </a:lnTo>
                <a:lnTo>
                  <a:pt x="4055" y="1200237"/>
                </a:lnTo>
                <a:lnTo>
                  <a:pt x="1020" y="1152829"/>
                </a:lnTo>
                <a:lnTo>
                  <a:pt x="0" y="1104900"/>
                </a:lnTo>
                <a:close/>
              </a:path>
            </a:pathLst>
          </a:custGeom>
          <a:ln w="88900">
            <a:solidFill>
              <a:srgbClr val="000080"/>
            </a:solidFill>
          </a:ln>
        </p:spPr>
        <p:txBody>
          <a:bodyPr wrap="square" lIns="0" tIns="0" rIns="0" bIns="0" rtlCol="0"/>
          <a:lstStyle/>
          <a:p>
            <a:endParaRPr/>
          </a:p>
        </p:txBody>
      </p:sp>
      <p:sp>
        <p:nvSpPr>
          <p:cNvPr id="20" name="object 20"/>
          <p:cNvSpPr/>
          <p:nvPr/>
        </p:nvSpPr>
        <p:spPr>
          <a:xfrm>
            <a:off x="7169150" y="1354200"/>
            <a:ext cx="1138301" cy="641350"/>
          </a:xfrm>
          <a:prstGeom prst="rect">
            <a:avLst/>
          </a:prstGeom>
          <a:blipFill>
            <a:blip r:embed="rId7" cstate="print"/>
            <a:stretch>
              <a:fillRect/>
            </a:stretch>
          </a:blipFill>
        </p:spPr>
        <p:txBody>
          <a:bodyPr wrap="square" lIns="0" tIns="0" rIns="0" bIns="0" rtlCol="0"/>
          <a:lstStyle/>
          <a:p>
            <a:endParaRPr/>
          </a:p>
        </p:txBody>
      </p:sp>
      <p:sp>
        <p:nvSpPr>
          <p:cNvPr id="21" name="object 21"/>
          <p:cNvSpPr/>
          <p:nvPr/>
        </p:nvSpPr>
        <p:spPr>
          <a:xfrm>
            <a:off x="7169150" y="1354200"/>
            <a:ext cx="1138555" cy="641350"/>
          </a:xfrm>
          <a:custGeom>
            <a:avLst/>
            <a:gdLst/>
            <a:ahLst/>
            <a:cxnLst/>
            <a:rect l="l" t="t" r="r" b="b"/>
            <a:pathLst>
              <a:path w="1138554" h="641350">
                <a:moveTo>
                  <a:pt x="0" y="320675"/>
                </a:moveTo>
                <a:lnTo>
                  <a:pt x="13124" y="251864"/>
                </a:lnTo>
                <a:lnTo>
                  <a:pt x="50647" y="188205"/>
                </a:lnTo>
                <a:lnTo>
                  <a:pt x="77691" y="158797"/>
                </a:lnTo>
                <a:lnTo>
                  <a:pt x="109793" y="131262"/>
                </a:lnTo>
                <a:lnTo>
                  <a:pt x="146606" y="105796"/>
                </a:lnTo>
                <a:lnTo>
                  <a:pt x="187784" y="82595"/>
                </a:lnTo>
                <a:lnTo>
                  <a:pt x="232979" y="61854"/>
                </a:lnTo>
                <a:lnTo>
                  <a:pt x="281845" y="43767"/>
                </a:lnTo>
                <a:lnTo>
                  <a:pt x="334035" y="28532"/>
                </a:lnTo>
                <a:lnTo>
                  <a:pt x="389201" y="16342"/>
                </a:lnTo>
                <a:lnTo>
                  <a:pt x="446996" y="7393"/>
                </a:lnTo>
                <a:lnTo>
                  <a:pt x="507074" y="1880"/>
                </a:lnTo>
                <a:lnTo>
                  <a:pt x="569086" y="0"/>
                </a:lnTo>
                <a:lnTo>
                  <a:pt x="631101" y="1880"/>
                </a:lnTo>
                <a:lnTo>
                  <a:pt x="691183" y="7393"/>
                </a:lnTo>
                <a:lnTo>
                  <a:pt x="748986" y="16342"/>
                </a:lnTo>
                <a:lnTo>
                  <a:pt x="804160" y="28532"/>
                </a:lnTo>
                <a:lnTo>
                  <a:pt x="856360" y="43767"/>
                </a:lnTo>
                <a:lnTo>
                  <a:pt x="905238" y="61854"/>
                </a:lnTo>
                <a:lnTo>
                  <a:pt x="950446" y="82595"/>
                </a:lnTo>
                <a:lnTo>
                  <a:pt x="991637" y="105796"/>
                </a:lnTo>
                <a:lnTo>
                  <a:pt x="1028463" y="131262"/>
                </a:lnTo>
                <a:lnTo>
                  <a:pt x="1060577" y="158797"/>
                </a:lnTo>
                <a:lnTo>
                  <a:pt x="1087631" y="188205"/>
                </a:lnTo>
                <a:lnTo>
                  <a:pt x="1125170" y="251864"/>
                </a:lnTo>
                <a:lnTo>
                  <a:pt x="1138301" y="320675"/>
                </a:lnTo>
                <a:lnTo>
                  <a:pt x="1134960" y="355604"/>
                </a:lnTo>
                <a:lnTo>
                  <a:pt x="1125170" y="389447"/>
                </a:lnTo>
                <a:lnTo>
                  <a:pt x="1087631" y="453089"/>
                </a:lnTo>
                <a:lnTo>
                  <a:pt x="1060577" y="482496"/>
                </a:lnTo>
                <a:lnTo>
                  <a:pt x="1028463" y="510033"/>
                </a:lnTo>
                <a:lnTo>
                  <a:pt x="991637" y="535502"/>
                </a:lnTo>
                <a:lnTo>
                  <a:pt x="950446" y="558710"/>
                </a:lnTo>
                <a:lnTo>
                  <a:pt x="905238" y="579459"/>
                </a:lnTo>
                <a:lnTo>
                  <a:pt x="856360" y="597553"/>
                </a:lnTo>
                <a:lnTo>
                  <a:pt x="804160" y="612797"/>
                </a:lnTo>
                <a:lnTo>
                  <a:pt x="748986" y="624995"/>
                </a:lnTo>
                <a:lnTo>
                  <a:pt x="691183" y="633950"/>
                </a:lnTo>
                <a:lnTo>
                  <a:pt x="631101" y="639467"/>
                </a:lnTo>
                <a:lnTo>
                  <a:pt x="569086" y="641350"/>
                </a:lnTo>
                <a:lnTo>
                  <a:pt x="507074" y="639467"/>
                </a:lnTo>
                <a:lnTo>
                  <a:pt x="446996" y="633950"/>
                </a:lnTo>
                <a:lnTo>
                  <a:pt x="389201" y="624995"/>
                </a:lnTo>
                <a:lnTo>
                  <a:pt x="334035" y="612797"/>
                </a:lnTo>
                <a:lnTo>
                  <a:pt x="281845" y="597553"/>
                </a:lnTo>
                <a:lnTo>
                  <a:pt x="232979" y="579459"/>
                </a:lnTo>
                <a:lnTo>
                  <a:pt x="187784" y="558710"/>
                </a:lnTo>
                <a:lnTo>
                  <a:pt x="146606" y="535502"/>
                </a:lnTo>
                <a:lnTo>
                  <a:pt x="109793" y="510033"/>
                </a:lnTo>
                <a:lnTo>
                  <a:pt x="77691" y="482496"/>
                </a:lnTo>
                <a:lnTo>
                  <a:pt x="50647" y="453089"/>
                </a:lnTo>
                <a:lnTo>
                  <a:pt x="13124" y="389447"/>
                </a:lnTo>
                <a:lnTo>
                  <a:pt x="0" y="320675"/>
                </a:lnTo>
                <a:close/>
              </a:path>
            </a:pathLst>
          </a:custGeom>
          <a:ln w="12700">
            <a:solidFill>
              <a:srgbClr val="DBFFC8"/>
            </a:solidFill>
          </a:ln>
        </p:spPr>
        <p:txBody>
          <a:bodyPr wrap="square" lIns="0" tIns="0" rIns="0" bIns="0" rtlCol="0"/>
          <a:lstStyle/>
          <a:p>
            <a:endParaRPr/>
          </a:p>
        </p:txBody>
      </p:sp>
      <p:sp>
        <p:nvSpPr>
          <p:cNvPr id="22" name="object 22"/>
          <p:cNvSpPr txBox="1"/>
          <p:nvPr/>
        </p:nvSpPr>
        <p:spPr>
          <a:xfrm>
            <a:off x="7359777" y="1349502"/>
            <a:ext cx="760730" cy="652145"/>
          </a:xfrm>
          <a:prstGeom prst="rect">
            <a:avLst/>
          </a:prstGeom>
        </p:spPr>
        <p:txBody>
          <a:bodyPr vert="horz" wrap="square" lIns="0" tIns="0" rIns="0" bIns="0" rtlCol="0">
            <a:spAutoFit/>
          </a:bodyPr>
          <a:lstStyle/>
          <a:p>
            <a:pPr algn="ctr">
              <a:lnSpc>
                <a:spcPct val="100000"/>
              </a:lnSpc>
            </a:pPr>
            <a:r>
              <a:rPr sz="1400" b="1" dirty="0">
                <a:latin typeface="Times New Roman"/>
                <a:cs typeface="Times New Roman"/>
              </a:rPr>
              <a:t>Sales</a:t>
            </a:r>
            <a:r>
              <a:rPr sz="1400" b="1" spc="-120" dirty="0">
                <a:latin typeface="Times New Roman"/>
                <a:cs typeface="Times New Roman"/>
              </a:rPr>
              <a:t> </a:t>
            </a:r>
            <a:r>
              <a:rPr sz="1400" b="1" dirty="0">
                <a:latin typeface="Times New Roman"/>
                <a:cs typeface="Times New Roman"/>
              </a:rPr>
              <a:t>Org</a:t>
            </a:r>
            <a:endParaRPr sz="1400">
              <a:latin typeface="Times New Roman"/>
              <a:cs typeface="Times New Roman"/>
            </a:endParaRPr>
          </a:p>
          <a:p>
            <a:pPr algn="ctr">
              <a:lnSpc>
                <a:spcPct val="100000"/>
              </a:lnSpc>
            </a:pPr>
            <a:r>
              <a:rPr sz="1400" b="1" dirty="0">
                <a:latin typeface="Times New Roman"/>
                <a:cs typeface="Times New Roman"/>
              </a:rPr>
              <a:t>+</a:t>
            </a:r>
            <a:endParaRPr sz="1400">
              <a:latin typeface="Times New Roman"/>
              <a:cs typeface="Times New Roman"/>
            </a:endParaRPr>
          </a:p>
          <a:p>
            <a:pPr marL="635" algn="ctr">
              <a:lnSpc>
                <a:spcPct val="100000"/>
              </a:lnSpc>
            </a:pPr>
            <a:r>
              <a:rPr sz="1400" b="1" spc="-5" dirty="0">
                <a:latin typeface="Times New Roman"/>
                <a:cs typeface="Times New Roman"/>
              </a:rPr>
              <a:t>Dist</a:t>
            </a:r>
            <a:r>
              <a:rPr sz="1400" b="1" spc="-105" dirty="0">
                <a:latin typeface="Times New Roman"/>
                <a:cs typeface="Times New Roman"/>
              </a:rPr>
              <a:t> </a:t>
            </a:r>
            <a:r>
              <a:rPr sz="1400" b="1" spc="-5" dirty="0">
                <a:latin typeface="Times New Roman"/>
                <a:cs typeface="Times New Roman"/>
              </a:rPr>
              <a:t>Chn</a:t>
            </a:r>
            <a:endParaRPr sz="1400">
              <a:latin typeface="Times New Roman"/>
              <a:cs typeface="Times New Roman"/>
            </a:endParaRPr>
          </a:p>
        </p:txBody>
      </p:sp>
      <p:sp>
        <p:nvSpPr>
          <p:cNvPr id="23" name="object 23"/>
          <p:cNvSpPr/>
          <p:nvPr/>
        </p:nvSpPr>
        <p:spPr>
          <a:xfrm>
            <a:off x="7261225" y="2074798"/>
            <a:ext cx="351790" cy="441325"/>
          </a:xfrm>
          <a:custGeom>
            <a:avLst/>
            <a:gdLst/>
            <a:ahLst/>
            <a:cxnLst/>
            <a:rect l="l" t="t" r="r" b="b"/>
            <a:pathLst>
              <a:path w="351790" h="441325">
                <a:moveTo>
                  <a:pt x="27431" y="305688"/>
                </a:moveTo>
                <a:lnTo>
                  <a:pt x="0" y="441325"/>
                </a:lnTo>
                <a:lnTo>
                  <a:pt x="124968" y="381888"/>
                </a:lnTo>
                <a:lnTo>
                  <a:pt x="113263" y="372745"/>
                </a:lnTo>
                <a:lnTo>
                  <a:pt x="79755" y="372745"/>
                </a:lnTo>
                <a:lnTo>
                  <a:pt x="47244" y="347345"/>
                </a:lnTo>
                <a:lnTo>
                  <a:pt x="59945" y="331089"/>
                </a:lnTo>
                <a:lnTo>
                  <a:pt x="27431" y="305688"/>
                </a:lnTo>
                <a:close/>
              </a:path>
              <a:path w="351790" h="441325">
                <a:moveTo>
                  <a:pt x="59945" y="331089"/>
                </a:moveTo>
                <a:lnTo>
                  <a:pt x="47244" y="347345"/>
                </a:lnTo>
                <a:lnTo>
                  <a:pt x="79755" y="372745"/>
                </a:lnTo>
                <a:lnTo>
                  <a:pt x="92463" y="356494"/>
                </a:lnTo>
                <a:lnTo>
                  <a:pt x="59945" y="331089"/>
                </a:lnTo>
                <a:close/>
              </a:path>
              <a:path w="351790" h="441325">
                <a:moveTo>
                  <a:pt x="92463" y="356494"/>
                </a:moveTo>
                <a:lnTo>
                  <a:pt x="79755" y="372745"/>
                </a:lnTo>
                <a:lnTo>
                  <a:pt x="113263" y="372745"/>
                </a:lnTo>
                <a:lnTo>
                  <a:pt x="92463" y="356494"/>
                </a:lnTo>
                <a:close/>
              </a:path>
              <a:path w="351790" h="441325">
                <a:moveTo>
                  <a:pt x="318643" y="0"/>
                </a:moveTo>
                <a:lnTo>
                  <a:pt x="59945" y="331089"/>
                </a:lnTo>
                <a:lnTo>
                  <a:pt x="92463" y="356494"/>
                </a:lnTo>
                <a:lnTo>
                  <a:pt x="351281" y="25526"/>
                </a:lnTo>
                <a:lnTo>
                  <a:pt x="318643" y="0"/>
                </a:lnTo>
                <a:close/>
              </a:path>
            </a:pathLst>
          </a:custGeom>
          <a:solidFill>
            <a:srgbClr val="000080"/>
          </a:solidFill>
        </p:spPr>
        <p:txBody>
          <a:bodyPr wrap="square" lIns="0" tIns="0" rIns="0" bIns="0" rtlCol="0"/>
          <a:lstStyle/>
          <a:p>
            <a:endParaRPr/>
          </a:p>
        </p:txBody>
      </p:sp>
      <p:sp>
        <p:nvSpPr>
          <p:cNvPr id="24" name="object 24"/>
          <p:cNvSpPr/>
          <p:nvPr/>
        </p:nvSpPr>
        <p:spPr>
          <a:xfrm>
            <a:off x="7902193" y="2062226"/>
            <a:ext cx="349885" cy="440055"/>
          </a:xfrm>
          <a:custGeom>
            <a:avLst/>
            <a:gdLst/>
            <a:ahLst/>
            <a:cxnLst/>
            <a:rect l="l" t="t" r="r" b="b"/>
            <a:pathLst>
              <a:path w="349884" h="440055">
                <a:moveTo>
                  <a:pt x="257122" y="354752"/>
                </a:moveTo>
                <a:lnTo>
                  <a:pt x="224662" y="380111"/>
                </a:lnTo>
                <a:lnTo>
                  <a:pt x="349630" y="439674"/>
                </a:lnTo>
                <a:lnTo>
                  <a:pt x="335773" y="371094"/>
                </a:lnTo>
                <a:lnTo>
                  <a:pt x="269875" y="371094"/>
                </a:lnTo>
                <a:lnTo>
                  <a:pt x="257122" y="354752"/>
                </a:lnTo>
                <a:close/>
              </a:path>
              <a:path w="349884" h="440055">
                <a:moveTo>
                  <a:pt x="289631" y="329354"/>
                </a:moveTo>
                <a:lnTo>
                  <a:pt x="257122" y="354752"/>
                </a:lnTo>
                <a:lnTo>
                  <a:pt x="269875" y="371094"/>
                </a:lnTo>
                <a:lnTo>
                  <a:pt x="302386" y="345694"/>
                </a:lnTo>
                <a:lnTo>
                  <a:pt x="289631" y="329354"/>
                </a:lnTo>
                <a:close/>
              </a:path>
              <a:path w="349884" h="440055">
                <a:moveTo>
                  <a:pt x="322199" y="303911"/>
                </a:moveTo>
                <a:lnTo>
                  <a:pt x="289631" y="329354"/>
                </a:lnTo>
                <a:lnTo>
                  <a:pt x="302386" y="345694"/>
                </a:lnTo>
                <a:lnTo>
                  <a:pt x="269875" y="371094"/>
                </a:lnTo>
                <a:lnTo>
                  <a:pt x="335773" y="371094"/>
                </a:lnTo>
                <a:lnTo>
                  <a:pt x="322199" y="303911"/>
                </a:lnTo>
                <a:close/>
              </a:path>
              <a:path w="349884" h="440055">
                <a:moveTo>
                  <a:pt x="32511" y="0"/>
                </a:moveTo>
                <a:lnTo>
                  <a:pt x="0" y="25273"/>
                </a:lnTo>
                <a:lnTo>
                  <a:pt x="257122" y="354752"/>
                </a:lnTo>
                <a:lnTo>
                  <a:pt x="289631" y="329354"/>
                </a:lnTo>
                <a:lnTo>
                  <a:pt x="32511" y="0"/>
                </a:lnTo>
                <a:close/>
              </a:path>
            </a:pathLst>
          </a:custGeom>
          <a:solidFill>
            <a:srgbClr val="000080"/>
          </a:solidFill>
        </p:spPr>
        <p:txBody>
          <a:bodyPr wrap="square" lIns="0" tIns="0" rIns="0" bIns="0" rtlCol="0"/>
          <a:lstStyle/>
          <a:p>
            <a:endParaRPr/>
          </a:p>
        </p:txBody>
      </p:sp>
      <p:sp>
        <p:nvSpPr>
          <p:cNvPr id="25" name="object 25"/>
          <p:cNvSpPr/>
          <p:nvPr/>
        </p:nvSpPr>
        <p:spPr>
          <a:xfrm>
            <a:off x="6943725" y="2528823"/>
            <a:ext cx="762000" cy="609600"/>
          </a:xfrm>
          <a:prstGeom prst="rect">
            <a:avLst/>
          </a:prstGeom>
          <a:blipFill>
            <a:blip r:embed="rId6" cstate="print"/>
            <a:stretch>
              <a:fillRect/>
            </a:stretch>
          </a:blipFill>
        </p:spPr>
        <p:txBody>
          <a:bodyPr wrap="square" lIns="0" tIns="0" rIns="0" bIns="0" rtlCol="0"/>
          <a:lstStyle/>
          <a:p>
            <a:endParaRPr/>
          </a:p>
        </p:txBody>
      </p:sp>
      <p:sp>
        <p:nvSpPr>
          <p:cNvPr id="26" name="object 26"/>
          <p:cNvSpPr txBox="1"/>
          <p:nvPr/>
        </p:nvSpPr>
        <p:spPr>
          <a:xfrm>
            <a:off x="7044055" y="2722117"/>
            <a:ext cx="560705" cy="225425"/>
          </a:xfrm>
          <a:prstGeom prst="rect">
            <a:avLst/>
          </a:prstGeom>
        </p:spPr>
        <p:txBody>
          <a:bodyPr vert="horz" wrap="square" lIns="0" tIns="0" rIns="0" bIns="0" rtlCol="0">
            <a:spAutoFit/>
          </a:bodyPr>
          <a:lstStyle/>
          <a:p>
            <a:pPr marL="12700">
              <a:lnSpc>
                <a:spcPct val="100000"/>
              </a:lnSpc>
            </a:pPr>
            <a:r>
              <a:rPr sz="1400" b="1" spc="-5" dirty="0">
                <a:latin typeface="Times New Roman"/>
                <a:cs typeface="Times New Roman"/>
              </a:rPr>
              <a:t>Plant</a:t>
            </a:r>
            <a:r>
              <a:rPr sz="1400" b="1" spc="-114" dirty="0">
                <a:latin typeface="Times New Roman"/>
                <a:cs typeface="Times New Roman"/>
              </a:rPr>
              <a:t> </a:t>
            </a:r>
            <a:r>
              <a:rPr sz="1400" b="1" dirty="0">
                <a:latin typeface="Times New Roman"/>
                <a:cs typeface="Times New Roman"/>
              </a:rPr>
              <a:t>1</a:t>
            </a:r>
            <a:endParaRPr sz="1400">
              <a:latin typeface="Times New Roman"/>
              <a:cs typeface="Times New Roman"/>
            </a:endParaRPr>
          </a:p>
        </p:txBody>
      </p:sp>
      <p:sp>
        <p:nvSpPr>
          <p:cNvPr id="27" name="object 27"/>
          <p:cNvSpPr/>
          <p:nvPr/>
        </p:nvSpPr>
        <p:spPr>
          <a:xfrm>
            <a:off x="7800975" y="2552700"/>
            <a:ext cx="762000" cy="609600"/>
          </a:xfrm>
          <a:prstGeom prst="rect">
            <a:avLst/>
          </a:prstGeom>
          <a:blipFill>
            <a:blip r:embed="rId6" cstate="print"/>
            <a:stretch>
              <a:fillRect/>
            </a:stretch>
          </a:blipFill>
        </p:spPr>
        <p:txBody>
          <a:bodyPr wrap="square" lIns="0" tIns="0" rIns="0" bIns="0" rtlCol="0"/>
          <a:lstStyle/>
          <a:p>
            <a:endParaRPr/>
          </a:p>
        </p:txBody>
      </p:sp>
      <p:sp>
        <p:nvSpPr>
          <p:cNvPr id="28" name="object 28"/>
          <p:cNvSpPr txBox="1"/>
          <p:nvPr/>
        </p:nvSpPr>
        <p:spPr>
          <a:xfrm>
            <a:off x="7901431" y="2745866"/>
            <a:ext cx="560705" cy="225425"/>
          </a:xfrm>
          <a:prstGeom prst="rect">
            <a:avLst/>
          </a:prstGeom>
        </p:spPr>
        <p:txBody>
          <a:bodyPr vert="horz" wrap="square" lIns="0" tIns="0" rIns="0" bIns="0" rtlCol="0">
            <a:spAutoFit/>
          </a:bodyPr>
          <a:lstStyle/>
          <a:p>
            <a:pPr marL="12700">
              <a:lnSpc>
                <a:spcPct val="100000"/>
              </a:lnSpc>
            </a:pPr>
            <a:r>
              <a:rPr sz="1400" b="1" spc="-5" dirty="0">
                <a:latin typeface="Times New Roman"/>
                <a:cs typeface="Times New Roman"/>
              </a:rPr>
              <a:t>Plant</a:t>
            </a:r>
            <a:r>
              <a:rPr sz="1400" b="1" spc="-114" dirty="0">
                <a:latin typeface="Times New Roman"/>
                <a:cs typeface="Times New Roman"/>
              </a:rPr>
              <a:t> </a:t>
            </a:r>
            <a:r>
              <a:rPr sz="1400" b="1" dirty="0">
                <a:latin typeface="Times New Roman"/>
                <a:cs typeface="Times New Roman"/>
              </a:rPr>
              <a:t>2</a:t>
            </a:r>
            <a:endParaRPr sz="1400">
              <a:latin typeface="Times New Roman"/>
              <a:cs typeface="Times New Roman"/>
            </a:endParaRPr>
          </a:p>
        </p:txBody>
      </p:sp>
      <p:sp>
        <p:nvSpPr>
          <p:cNvPr id="29" name="object 29"/>
          <p:cNvSpPr/>
          <p:nvPr/>
        </p:nvSpPr>
        <p:spPr>
          <a:xfrm>
            <a:off x="378574" y="1221486"/>
            <a:ext cx="3202813" cy="3426714"/>
          </a:xfrm>
          <a:prstGeom prst="rect">
            <a:avLst/>
          </a:prstGeom>
          <a:blipFill>
            <a:blip r:embed="rId8" cstate="print"/>
            <a:stretch>
              <a:fillRect/>
            </a:stretch>
          </a:blipFill>
        </p:spPr>
        <p:txBody>
          <a:bodyPr wrap="square" lIns="0" tIns="0" rIns="0" bIns="0" rtlCol="0"/>
          <a:lstStyle/>
          <a:p>
            <a:endParaRPr/>
          </a:p>
        </p:txBody>
      </p:sp>
      <p:sp>
        <p:nvSpPr>
          <p:cNvPr id="30" name="object 30"/>
          <p:cNvSpPr/>
          <p:nvPr/>
        </p:nvSpPr>
        <p:spPr>
          <a:xfrm>
            <a:off x="236220" y="5486400"/>
            <a:ext cx="377952" cy="382524"/>
          </a:xfrm>
          <a:prstGeom prst="rect">
            <a:avLst/>
          </a:prstGeom>
          <a:blipFill>
            <a:blip r:embed="rId9" cstate="print"/>
            <a:stretch>
              <a:fillRect/>
            </a:stretch>
          </a:blipFill>
        </p:spPr>
        <p:txBody>
          <a:bodyPr wrap="square" lIns="0" tIns="0" rIns="0" bIns="0" rtlCol="0"/>
          <a:lstStyle/>
          <a:p>
            <a:endParaRPr/>
          </a:p>
        </p:txBody>
      </p:sp>
      <p:sp>
        <p:nvSpPr>
          <p:cNvPr id="31" name="object 31"/>
          <p:cNvSpPr/>
          <p:nvPr/>
        </p:nvSpPr>
        <p:spPr>
          <a:xfrm>
            <a:off x="731519" y="4440935"/>
            <a:ext cx="377952" cy="382524"/>
          </a:xfrm>
          <a:prstGeom prst="rect">
            <a:avLst/>
          </a:prstGeom>
          <a:blipFill>
            <a:blip r:embed="rId9" cstate="print"/>
            <a:stretch>
              <a:fillRect/>
            </a:stretch>
          </a:blipFill>
        </p:spPr>
        <p:txBody>
          <a:bodyPr wrap="square" lIns="0" tIns="0" rIns="0" bIns="0" rtlCol="0"/>
          <a:lstStyle/>
          <a:p>
            <a:endParaRPr/>
          </a:p>
        </p:txBody>
      </p:sp>
      <p:sp>
        <p:nvSpPr>
          <p:cNvPr id="32" name="object 32"/>
          <p:cNvSpPr txBox="1"/>
          <p:nvPr/>
        </p:nvSpPr>
        <p:spPr>
          <a:xfrm>
            <a:off x="368300" y="3750945"/>
            <a:ext cx="7883525" cy="2436564"/>
          </a:xfrm>
          <a:prstGeom prst="rect">
            <a:avLst/>
          </a:prstGeom>
        </p:spPr>
        <p:txBody>
          <a:bodyPr vert="horz" wrap="square" lIns="0" tIns="0" rIns="0" bIns="0" rtlCol="0">
            <a:spAutoFit/>
          </a:bodyPr>
          <a:lstStyle/>
          <a:p>
            <a:pPr marL="3937635" marR="111760" indent="-342900">
              <a:lnSpc>
                <a:spcPts val="1730"/>
              </a:lnSpc>
              <a:buClr>
                <a:srgbClr val="00B0F0"/>
              </a:buClr>
              <a:buFont typeface="Wingdings" panose="05000000000000000000" pitchFamily="2" charset="2"/>
              <a:buChar char="§"/>
              <a:tabLst>
                <a:tab pos="3937000" algn="l"/>
                <a:tab pos="3937635" algn="l"/>
              </a:tabLst>
            </a:pPr>
            <a:r>
              <a:rPr spc="-5" dirty="0">
                <a:latin typeface="Arial"/>
                <a:cs typeface="Arial"/>
              </a:rPr>
              <a:t>More than one Plant can be assigned to  combination of Sales Organization and  Distributional Channel and </a:t>
            </a:r>
            <a:r>
              <a:rPr spc="-5" dirty="0" smtClean="0">
                <a:latin typeface="Arial"/>
                <a:cs typeface="Arial"/>
              </a:rPr>
              <a:t>vice-versa</a:t>
            </a:r>
            <a:endParaRPr sz="1600" dirty="0">
              <a:latin typeface="Times New Roman"/>
              <a:cs typeface="Times New Roman"/>
            </a:endParaRPr>
          </a:p>
          <a:p>
            <a:pPr marL="285750" indent="-285750">
              <a:lnSpc>
                <a:spcPct val="100000"/>
              </a:lnSpc>
              <a:spcBef>
                <a:spcPts val="45"/>
              </a:spcBef>
              <a:buClr>
                <a:srgbClr val="00B0F0"/>
              </a:buClr>
              <a:buFont typeface="Wingdings" panose="05000000000000000000" pitchFamily="2" charset="2"/>
              <a:buChar char="§"/>
            </a:pPr>
            <a:endParaRPr sz="1300" dirty="0">
              <a:latin typeface="Times New Roman"/>
              <a:cs typeface="Times New Roman"/>
            </a:endParaRPr>
          </a:p>
          <a:p>
            <a:pPr marL="508000" marR="5080" indent="-342900" algn="just">
              <a:lnSpc>
                <a:spcPts val="1730"/>
              </a:lnSpc>
              <a:buClr>
                <a:srgbClr val="00B0F0"/>
              </a:buClr>
              <a:buFont typeface="Wingdings" panose="05000000000000000000" pitchFamily="2" charset="2"/>
              <a:buChar char="§"/>
              <a:tabLst>
                <a:tab pos="508000" algn="l"/>
              </a:tabLst>
            </a:pPr>
            <a:r>
              <a:rPr spc="-5" dirty="0">
                <a:latin typeface="Arial"/>
                <a:cs typeface="Arial"/>
              </a:rPr>
              <a:t>When plant of one company code is assigned to the combination of  Sales Organization and Distributional Channel belonging to another  company code the scenario results into Inter-company Sales</a:t>
            </a:r>
            <a:endParaRPr lang="en-US" spc="-5" dirty="0">
              <a:latin typeface="Arial"/>
              <a:cs typeface="Arial"/>
            </a:endParaRPr>
          </a:p>
          <a:p>
            <a:pPr marL="165100" marR="5080" algn="just">
              <a:lnSpc>
                <a:spcPts val="1730"/>
              </a:lnSpc>
              <a:buClr>
                <a:srgbClr val="00B0F0"/>
              </a:buClr>
              <a:tabLst>
                <a:tab pos="508000" algn="l"/>
              </a:tabLst>
            </a:pPr>
            <a:endParaRPr sz="2250" dirty="0">
              <a:latin typeface="Times New Roman"/>
              <a:cs typeface="Times New Roman"/>
            </a:endParaRPr>
          </a:p>
          <a:p>
            <a:pPr marL="12700">
              <a:lnSpc>
                <a:spcPct val="100000"/>
              </a:lnSpc>
            </a:pPr>
            <a:r>
              <a:rPr sz="1600" b="1" spc="-5" dirty="0">
                <a:latin typeface="Arial"/>
                <a:cs typeface="Arial"/>
              </a:rPr>
              <a:t>Display IMG </a:t>
            </a:r>
            <a:r>
              <a:rPr sz="1600" b="1" spc="-10" dirty="0">
                <a:latin typeface="Wingdings"/>
                <a:cs typeface="Wingdings"/>
              </a:rPr>
              <a:t></a:t>
            </a:r>
            <a:r>
              <a:rPr sz="1600" b="1" spc="-10" dirty="0">
                <a:latin typeface="Times New Roman"/>
                <a:cs typeface="Times New Roman"/>
              </a:rPr>
              <a:t> </a:t>
            </a:r>
            <a:r>
              <a:rPr sz="1600" b="1" spc="-5" dirty="0">
                <a:latin typeface="Arial"/>
                <a:cs typeface="Arial"/>
              </a:rPr>
              <a:t>Enterprise structure </a:t>
            </a:r>
            <a:r>
              <a:rPr sz="1600" b="1" spc="-10" dirty="0">
                <a:latin typeface="Wingdings"/>
                <a:cs typeface="Wingdings"/>
              </a:rPr>
              <a:t></a:t>
            </a:r>
            <a:r>
              <a:rPr sz="1600" b="1" spc="-10" dirty="0">
                <a:latin typeface="Times New Roman"/>
                <a:cs typeface="Times New Roman"/>
              </a:rPr>
              <a:t> </a:t>
            </a:r>
            <a:r>
              <a:rPr sz="1600" b="1" spc="-10" dirty="0">
                <a:latin typeface="Arial"/>
                <a:cs typeface="Arial"/>
              </a:rPr>
              <a:t>Assignment </a:t>
            </a:r>
            <a:r>
              <a:rPr sz="1600" b="1" spc="-10" dirty="0">
                <a:latin typeface="Wingdings"/>
                <a:cs typeface="Wingdings"/>
              </a:rPr>
              <a:t></a:t>
            </a:r>
            <a:r>
              <a:rPr sz="1600" b="1" spc="-10" dirty="0">
                <a:latin typeface="Times New Roman"/>
                <a:cs typeface="Times New Roman"/>
              </a:rPr>
              <a:t> </a:t>
            </a:r>
            <a:r>
              <a:rPr sz="1600" b="1" spc="-5" dirty="0">
                <a:latin typeface="Arial"/>
                <a:cs typeface="Arial"/>
              </a:rPr>
              <a:t>Sales &amp; Distribution</a:t>
            </a:r>
            <a:r>
              <a:rPr sz="1600" b="1" spc="409" dirty="0">
                <a:latin typeface="Arial"/>
                <a:cs typeface="Arial"/>
              </a:rPr>
              <a:t> </a:t>
            </a:r>
            <a:r>
              <a:rPr sz="1600" b="1" spc="-10" dirty="0">
                <a:latin typeface="Wingdings"/>
                <a:cs typeface="Wingdings"/>
              </a:rPr>
              <a:t></a:t>
            </a:r>
            <a:endParaRPr sz="1600" dirty="0">
              <a:latin typeface="Wingdings"/>
              <a:cs typeface="Wingdings"/>
            </a:endParaRPr>
          </a:p>
          <a:p>
            <a:pPr marL="355600">
              <a:lnSpc>
                <a:spcPct val="100000"/>
              </a:lnSpc>
            </a:pPr>
            <a:r>
              <a:rPr sz="1600" b="1" spc="-15" dirty="0">
                <a:latin typeface="Arial"/>
                <a:cs typeface="Arial"/>
              </a:rPr>
              <a:t>Assign </a:t>
            </a:r>
            <a:r>
              <a:rPr sz="1600" b="1" spc="-5" dirty="0">
                <a:latin typeface="Arial"/>
                <a:cs typeface="Arial"/>
              </a:rPr>
              <a:t>Sales </a:t>
            </a:r>
            <a:r>
              <a:rPr sz="1600" b="1" spc="-10" dirty="0">
                <a:latin typeface="Arial"/>
                <a:cs typeface="Arial"/>
              </a:rPr>
              <a:t>Org </a:t>
            </a:r>
            <a:r>
              <a:rPr sz="1600" b="1" spc="-5" dirty="0">
                <a:latin typeface="Arial"/>
                <a:cs typeface="Arial"/>
              </a:rPr>
              <a:t>&amp; Distribution Channel to</a:t>
            </a:r>
            <a:r>
              <a:rPr sz="1600" b="1" spc="185" dirty="0">
                <a:latin typeface="Arial"/>
                <a:cs typeface="Arial"/>
              </a:rPr>
              <a:t> </a:t>
            </a:r>
            <a:r>
              <a:rPr sz="1600" b="1" spc="-5" dirty="0">
                <a:latin typeface="Arial"/>
                <a:cs typeface="Arial"/>
              </a:rPr>
              <a:t>Plant</a:t>
            </a:r>
            <a:endParaRPr sz="1600" dirty="0">
              <a:latin typeface="Arial"/>
              <a:cs typeface="Arial"/>
            </a:endParaRPr>
          </a:p>
        </p:txBody>
      </p:sp>
      <p:sp>
        <p:nvSpPr>
          <p:cNvPr id="34" name="object 34"/>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40</a:t>
            </a:fld>
            <a:endParaRPr sz="1200">
              <a:latin typeface="Symbol"/>
              <a:cs typeface="Symbol"/>
            </a:endParaRP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3950208" y="260604"/>
            <a:ext cx="886967"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prstGeom prst="rect">
            <a:avLst/>
          </a:prstGeom>
        </p:spPr>
        <p:txBody>
          <a:bodyPr vert="horz" wrap="square" lIns="0" tIns="0" rIns="0" bIns="0" rtlCol="0">
            <a:spAutoFit/>
          </a:bodyPr>
          <a:lstStyle/>
          <a:p>
            <a:pPr>
              <a:lnSpc>
                <a:spcPct val="100000"/>
              </a:lnSpc>
            </a:pPr>
            <a:r>
              <a:rPr dirty="0"/>
              <a:t>Shipping Point</a:t>
            </a:r>
          </a:p>
        </p:txBody>
      </p:sp>
      <p:sp>
        <p:nvSpPr>
          <p:cNvPr id="5" name="object 5"/>
          <p:cNvSpPr/>
          <p:nvPr/>
        </p:nvSpPr>
        <p:spPr>
          <a:xfrm>
            <a:off x="381000" y="1143000"/>
            <a:ext cx="7772400" cy="4724400"/>
          </a:xfrm>
          <a:prstGeom prst="rect">
            <a:avLst/>
          </a:prstGeom>
          <a:blipFill>
            <a:blip r:embed="rId3" cstate="print"/>
            <a:stretch>
              <a:fillRect/>
            </a:stretch>
          </a:blipFill>
        </p:spPr>
        <p:txBody>
          <a:bodyPr wrap="square" lIns="0" tIns="0" rIns="0" bIns="0" rtlCol="0"/>
          <a:lstStyle/>
          <a:p>
            <a:endParaRPr/>
          </a:p>
        </p:txBody>
      </p:sp>
      <p:sp>
        <p:nvSpPr>
          <p:cNvPr id="6" name="object 6"/>
          <p:cNvSpPr txBox="1"/>
          <p:nvPr/>
        </p:nvSpPr>
        <p:spPr>
          <a:xfrm>
            <a:off x="152400" y="5976302"/>
            <a:ext cx="8752205" cy="239395"/>
          </a:xfrm>
          <a:prstGeom prst="rect">
            <a:avLst/>
          </a:prstGeom>
        </p:spPr>
        <p:txBody>
          <a:bodyPr vert="horz" wrap="square" lIns="0" tIns="0" rIns="0" bIns="0" rtlCol="0">
            <a:spAutoFit/>
          </a:bodyPr>
          <a:lstStyle/>
          <a:p>
            <a:pPr marL="12700">
              <a:lnSpc>
                <a:spcPct val="100000"/>
              </a:lnSpc>
            </a:pPr>
            <a:r>
              <a:rPr sz="1500" b="1" spc="-5" dirty="0">
                <a:latin typeface="Arial"/>
                <a:cs typeface="Arial"/>
              </a:rPr>
              <a:t>Display </a:t>
            </a:r>
            <a:r>
              <a:rPr sz="1500" b="1" dirty="0">
                <a:latin typeface="Arial"/>
                <a:cs typeface="Arial"/>
              </a:rPr>
              <a:t>IMG </a:t>
            </a:r>
            <a:r>
              <a:rPr sz="1500" b="1" spc="-5" dirty="0">
                <a:latin typeface="Wingdings"/>
                <a:cs typeface="Wingdings"/>
              </a:rPr>
              <a:t></a:t>
            </a:r>
            <a:r>
              <a:rPr sz="1500" b="1" spc="-5" dirty="0">
                <a:latin typeface="Times New Roman"/>
                <a:cs typeface="Times New Roman"/>
              </a:rPr>
              <a:t> </a:t>
            </a:r>
            <a:r>
              <a:rPr sz="1500" b="1" spc="-5" dirty="0">
                <a:latin typeface="Arial"/>
                <a:cs typeface="Arial"/>
              </a:rPr>
              <a:t>Enterprise structure </a:t>
            </a:r>
            <a:r>
              <a:rPr sz="1500" b="1" spc="-5" dirty="0">
                <a:latin typeface="Wingdings"/>
                <a:cs typeface="Wingdings"/>
              </a:rPr>
              <a:t></a:t>
            </a:r>
            <a:r>
              <a:rPr sz="1500" b="1" spc="-5" dirty="0">
                <a:latin typeface="Times New Roman"/>
                <a:cs typeface="Times New Roman"/>
              </a:rPr>
              <a:t> </a:t>
            </a:r>
            <a:r>
              <a:rPr sz="1500" b="1" dirty="0">
                <a:latin typeface="Arial"/>
                <a:cs typeface="Arial"/>
              </a:rPr>
              <a:t>Definition </a:t>
            </a:r>
            <a:r>
              <a:rPr sz="1500" b="1" spc="-5" dirty="0">
                <a:latin typeface="Wingdings"/>
                <a:cs typeface="Wingdings"/>
              </a:rPr>
              <a:t></a:t>
            </a:r>
            <a:r>
              <a:rPr sz="1500" b="1" spc="-5" dirty="0">
                <a:latin typeface="Times New Roman"/>
                <a:cs typeface="Times New Roman"/>
              </a:rPr>
              <a:t> </a:t>
            </a:r>
            <a:r>
              <a:rPr sz="1500" b="1" spc="-5" dirty="0">
                <a:latin typeface="Arial"/>
                <a:cs typeface="Arial"/>
              </a:rPr>
              <a:t>Logistics Execution </a:t>
            </a:r>
            <a:r>
              <a:rPr sz="1500" b="1" spc="-5" dirty="0">
                <a:latin typeface="Wingdings"/>
                <a:cs typeface="Wingdings"/>
              </a:rPr>
              <a:t></a:t>
            </a:r>
            <a:r>
              <a:rPr sz="1500" b="1" spc="-5" dirty="0">
                <a:latin typeface="Times New Roman"/>
                <a:cs typeface="Times New Roman"/>
              </a:rPr>
              <a:t> </a:t>
            </a:r>
            <a:r>
              <a:rPr sz="1500" b="1" dirty="0">
                <a:latin typeface="Arial"/>
                <a:cs typeface="Arial"/>
              </a:rPr>
              <a:t>Define </a:t>
            </a:r>
            <a:r>
              <a:rPr sz="1500" b="1" spc="-5" dirty="0">
                <a:latin typeface="Arial"/>
                <a:cs typeface="Arial"/>
              </a:rPr>
              <a:t>Shipping</a:t>
            </a:r>
            <a:r>
              <a:rPr sz="1500" b="1" spc="210" dirty="0">
                <a:latin typeface="Arial"/>
                <a:cs typeface="Arial"/>
              </a:rPr>
              <a:t> </a:t>
            </a:r>
            <a:r>
              <a:rPr sz="1500" b="1" spc="-5" dirty="0">
                <a:latin typeface="Arial"/>
                <a:cs typeface="Arial"/>
              </a:rPr>
              <a:t>Point</a:t>
            </a:r>
            <a:endParaRPr sz="1500" dirty="0">
              <a:latin typeface="Arial"/>
              <a:cs typeface="Arial"/>
            </a:endParaRPr>
          </a:p>
        </p:txBody>
      </p:sp>
      <p:sp>
        <p:nvSpPr>
          <p:cNvPr id="7" name="object 7"/>
          <p:cNvSpPr/>
          <p:nvPr/>
        </p:nvSpPr>
        <p:spPr>
          <a:xfrm>
            <a:off x="2367026" y="1905000"/>
            <a:ext cx="5024755" cy="1066800"/>
          </a:xfrm>
          <a:custGeom>
            <a:avLst/>
            <a:gdLst/>
            <a:ahLst/>
            <a:cxnLst/>
            <a:rect l="l" t="t" r="r" b="b"/>
            <a:pathLst>
              <a:path w="5024755" h="1066800">
                <a:moveTo>
                  <a:pt x="5024374" y="889000"/>
                </a:moveTo>
                <a:lnTo>
                  <a:pt x="3424174" y="889000"/>
                </a:lnTo>
                <a:lnTo>
                  <a:pt x="3430526" y="936257"/>
                </a:lnTo>
                <a:lnTo>
                  <a:pt x="3448454" y="978727"/>
                </a:lnTo>
                <a:lnTo>
                  <a:pt x="3476259" y="1014714"/>
                </a:lnTo>
                <a:lnTo>
                  <a:pt x="3512246" y="1042519"/>
                </a:lnTo>
                <a:lnTo>
                  <a:pt x="3554716" y="1060447"/>
                </a:lnTo>
                <a:lnTo>
                  <a:pt x="3601974" y="1066800"/>
                </a:lnTo>
                <a:lnTo>
                  <a:pt x="4846574" y="1066800"/>
                </a:lnTo>
                <a:lnTo>
                  <a:pt x="4893831" y="1060447"/>
                </a:lnTo>
                <a:lnTo>
                  <a:pt x="4936301" y="1042519"/>
                </a:lnTo>
                <a:lnTo>
                  <a:pt x="4972288" y="1014714"/>
                </a:lnTo>
                <a:lnTo>
                  <a:pt x="5000093" y="978727"/>
                </a:lnTo>
                <a:lnTo>
                  <a:pt x="5018021" y="936257"/>
                </a:lnTo>
                <a:lnTo>
                  <a:pt x="5024374" y="889000"/>
                </a:lnTo>
                <a:close/>
              </a:path>
              <a:path w="5024755" h="1066800">
                <a:moveTo>
                  <a:pt x="4846574" y="0"/>
                </a:moveTo>
                <a:lnTo>
                  <a:pt x="3601974" y="0"/>
                </a:lnTo>
                <a:lnTo>
                  <a:pt x="3554716" y="6352"/>
                </a:lnTo>
                <a:lnTo>
                  <a:pt x="3512246" y="24280"/>
                </a:lnTo>
                <a:lnTo>
                  <a:pt x="3476259" y="52085"/>
                </a:lnTo>
                <a:lnTo>
                  <a:pt x="3448454" y="88072"/>
                </a:lnTo>
                <a:lnTo>
                  <a:pt x="3430526" y="130542"/>
                </a:lnTo>
                <a:lnTo>
                  <a:pt x="3424174" y="177800"/>
                </a:lnTo>
                <a:lnTo>
                  <a:pt x="3424174" y="622300"/>
                </a:lnTo>
                <a:lnTo>
                  <a:pt x="0" y="957199"/>
                </a:lnTo>
                <a:lnTo>
                  <a:pt x="3424174" y="889000"/>
                </a:lnTo>
                <a:lnTo>
                  <a:pt x="5024374" y="889000"/>
                </a:lnTo>
                <a:lnTo>
                  <a:pt x="5024374" y="177800"/>
                </a:lnTo>
                <a:lnTo>
                  <a:pt x="5018021" y="130542"/>
                </a:lnTo>
                <a:lnTo>
                  <a:pt x="5000093" y="88072"/>
                </a:lnTo>
                <a:lnTo>
                  <a:pt x="4972288" y="52085"/>
                </a:lnTo>
                <a:lnTo>
                  <a:pt x="4936301" y="24280"/>
                </a:lnTo>
                <a:lnTo>
                  <a:pt x="4893831" y="6352"/>
                </a:lnTo>
                <a:lnTo>
                  <a:pt x="4846574" y="0"/>
                </a:lnTo>
                <a:close/>
              </a:path>
            </a:pathLst>
          </a:custGeom>
          <a:solidFill>
            <a:srgbClr val="FFFFCC"/>
          </a:solidFill>
        </p:spPr>
        <p:txBody>
          <a:bodyPr wrap="square" lIns="0" tIns="0" rIns="0" bIns="0" rtlCol="0"/>
          <a:lstStyle/>
          <a:p>
            <a:endParaRPr/>
          </a:p>
        </p:txBody>
      </p:sp>
      <p:sp>
        <p:nvSpPr>
          <p:cNvPr id="8" name="object 8"/>
          <p:cNvSpPr/>
          <p:nvPr/>
        </p:nvSpPr>
        <p:spPr>
          <a:xfrm>
            <a:off x="2367026" y="1905000"/>
            <a:ext cx="5024755" cy="1066800"/>
          </a:xfrm>
          <a:custGeom>
            <a:avLst/>
            <a:gdLst/>
            <a:ahLst/>
            <a:cxnLst/>
            <a:rect l="l" t="t" r="r" b="b"/>
            <a:pathLst>
              <a:path w="5024755" h="1066800">
                <a:moveTo>
                  <a:pt x="3424174" y="177800"/>
                </a:moveTo>
                <a:lnTo>
                  <a:pt x="3430526" y="130542"/>
                </a:lnTo>
                <a:lnTo>
                  <a:pt x="3448454" y="88072"/>
                </a:lnTo>
                <a:lnTo>
                  <a:pt x="3476259" y="52085"/>
                </a:lnTo>
                <a:lnTo>
                  <a:pt x="3512246" y="24280"/>
                </a:lnTo>
                <a:lnTo>
                  <a:pt x="3554716" y="6352"/>
                </a:lnTo>
                <a:lnTo>
                  <a:pt x="3601974" y="0"/>
                </a:lnTo>
                <a:lnTo>
                  <a:pt x="3690874" y="0"/>
                </a:lnTo>
                <a:lnTo>
                  <a:pt x="4090924" y="0"/>
                </a:lnTo>
                <a:lnTo>
                  <a:pt x="4846574" y="0"/>
                </a:lnTo>
                <a:lnTo>
                  <a:pt x="4893831" y="6352"/>
                </a:lnTo>
                <a:lnTo>
                  <a:pt x="4936301" y="24280"/>
                </a:lnTo>
                <a:lnTo>
                  <a:pt x="4972288" y="52085"/>
                </a:lnTo>
                <a:lnTo>
                  <a:pt x="5000093" y="88072"/>
                </a:lnTo>
                <a:lnTo>
                  <a:pt x="5018021" y="130542"/>
                </a:lnTo>
                <a:lnTo>
                  <a:pt x="5024374" y="177800"/>
                </a:lnTo>
                <a:lnTo>
                  <a:pt x="5024374" y="622300"/>
                </a:lnTo>
                <a:lnTo>
                  <a:pt x="5024374" y="889000"/>
                </a:lnTo>
                <a:lnTo>
                  <a:pt x="5018021" y="936257"/>
                </a:lnTo>
                <a:lnTo>
                  <a:pt x="5000093" y="978727"/>
                </a:lnTo>
                <a:lnTo>
                  <a:pt x="4972288" y="1014714"/>
                </a:lnTo>
                <a:lnTo>
                  <a:pt x="4936301" y="1042519"/>
                </a:lnTo>
                <a:lnTo>
                  <a:pt x="4893831" y="1060447"/>
                </a:lnTo>
                <a:lnTo>
                  <a:pt x="4846574" y="1066800"/>
                </a:lnTo>
                <a:lnTo>
                  <a:pt x="4090924" y="1066800"/>
                </a:lnTo>
                <a:lnTo>
                  <a:pt x="3690874" y="1066800"/>
                </a:lnTo>
                <a:lnTo>
                  <a:pt x="3601974" y="1066800"/>
                </a:lnTo>
                <a:lnTo>
                  <a:pt x="3554716" y="1060447"/>
                </a:lnTo>
                <a:lnTo>
                  <a:pt x="3512246" y="1042519"/>
                </a:lnTo>
                <a:lnTo>
                  <a:pt x="3476259" y="1014714"/>
                </a:lnTo>
                <a:lnTo>
                  <a:pt x="3448454" y="978727"/>
                </a:lnTo>
                <a:lnTo>
                  <a:pt x="3430526" y="936257"/>
                </a:lnTo>
                <a:lnTo>
                  <a:pt x="3424174" y="889000"/>
                </a:lnTo>
                <a:lnTo>
                  <a:pt x="0" y="957199"/>
                </a:lnTo>
                <a:lnTo>
                  <a:pt x="3424174" y="622300"/>
                </a:lnTo>
                <a:lnTo>
                  <a:pt x="3424174" y="177800"/>
                </a:lnTo>
                <a:close/>
              </a:path>
            </a:pathLst>
          </a:custGeom>
          <a:ln w="12700">
            <a:solidFill>
              <a:srgbClr val="000000"/>
            </a:solidFill>
          </a:ln>
        </p:spPr>
        <p:txBody>
          <a:bodyPr wrap="square" lIns="0" tIns="0" rIns="0" bIns="0" rtlCol="0"/>
          <a:lstStyle/>
          <a:p>
            <a:endParaRPr/>
          </a:p>
        </p:txBody>
      </p:sp>
      <p:sp>
        <p:nvSpPr>
          <p:cNvPr id="9" name="object 9"/>
          <p:cNvSpPr txBox="1"/>
          <p:nvPr/>
        </p:nvSpPr>
        <p:spPr>
          <a:xfrm>
            <a:off x="5923026" y="1996566"/>
            <a:ext cx="1330960" cy="792480"/>
          </a:xfrm>
          <a:prstGeom prst="rect">
            <a:avLst/>
          </a:prstGeom>
        </p:spPr>
        <p:txBody>
          <a:bodyPr vert="horz" wrap="square" lIns="0" tIns="0" rIns="0" bIns="0" rtlCol="0">
            <a:spAutoFit/>
          </a:bodyPr>
          <a:lstStyle/>
          <a:p>
            <a:pPr marL="12700" marR="5080">
              <a:lnSpc>
                <a:spcPct val="80000"/>
              </a:lnSpc>
            </a:pPr>
            <a:r>
              <a:rPr sz="1600" b="1" spc="-5" dirty="0">
                <a:latin typeface="Times New Roman"/>
                <a:cs typeface="Times New Roman"/>
              </a:rPr>
              <a:t>A Shipping  point has its  </a:t>
            </a:r>
            <a:r>
              <a:rPr sz="1600" b="1" spc="5" dirty="0">
                <a:latin typeface="Times New Roman"/>
                <a:cs typeface="Times New Roman"/>
              </a:rPr>
              <a:t>own </a:t>
            </a:r>
            <a:r>
              <a:rPr sz="1600" b="1" spc="-5" dirty="0">
                <a:latin typeface="Times New Roman"/>
                <a:cs typeface="Times New Roman"/>
              </a:rPr>
              <a:t>working  days &amp;</a:t>
            </a:r>
            <a:r>
              <a:rPr sz="1600" b="1" spc="-95" dirty="0">
                <a:latin typeface="Times New Roman"/>
                <a:cs typeface="Times New Roman"/>
              </a:rPr>
              <a:t> </a:t>
            </a:r>
            <a:r>
              <a:rPr sz="1600" b="1" spc="-5" dirty="0">
                <a:latin typeface="Times New Roman"/>
                <a:cs typeface="Times New Roman"/>
              </a:rPr>
              <a:t>timings</a:t>
            </a:r>
            <a:endParaRPr sz="1600">
              <a:latin typeface="Times New Roman"/>
              <a:cs typeface="Times New Roman"/>
            </a:endParaRPr>
          </a:p>
        </p:txBody>
      </p:sp>
      <p:sp>
        <p:nvSpPr>
          <p:cNvPr id="10" name="object 10"/>
          <p:cNvSpPr/>
          <p:nvPr/>
        </p:nvSpPr>
        <p:spPr>
          <a:xfrm>
            <a:off x="2519298" y="3200400"/>
            <a:ext cx="4948555" cy="1066800"/>
          </a:xfrm>
          <a:custGeom>
            <a:avLst/>
            <a:gdLst/>
            <a:ahLst/>
            <a:cxnLst/>
            <a:rect l="l" t="t" r="r" b="b"/>
            <a:pathLst>
              <a:path w="4948555" h="1066800">
                <a:moveTo>
                  <a:pt x="4770501" y="0"/>
                </a:moveTo>
                <a:lnTo>
                  <a:pt x="3525901" y="0"/>
                </a:lnTo>
                <a:lnTo>
                  <a:pt x="3478643" y="6352"/>
                </a:lnTo>
                <a:lnTo>
                  <a:pt x="3436173" y="24280"/>
                </a:lnTo>
                <a:lnTo>
                  <a:pt x="3400186" y="52085"/>
                </a:lnTo>
                <a:lnTo>
                  <a:pt x="3372381" y="88072"/>
                </a:lnTo>
                <a:lnTo>
                  <a:pt x="3354453" y="130542"/>
                </a:lnTo>
                <a:lnTo>
                  <a:pt x="3348101" y="177800"/>
                </a:lnTo>
                <a:lnTo>
                  <a:pt x="0" y="195325"/>
                </a:lnTo>
                <a:lnTo>
                  <a:pt x="3348101" y="444500"/>
                </a:lnTo>
                <a:lnTo>
                  <a:pt x="3348101" y="889000"/>
                </a:lnTo>
                <a:lnTo>
                  <a:pt x="3354453" y="936257"/>
                </a:lnTo>
                <a:lnTo>
                  <a:pt x="3372381" y="978727"/>
                </a:lnTo>
                <a:lnTo>
                  <a:pt x="3400186" y="1014714"/>
                </a:lnTo>
                <a:lnTo>
                  <a:pt x="3436173" y="1042519"/>
                </a:lnTo>
                <a:lnTo>
                  <a:pt x="3478643" y="1060447"/>
                </a:lnTo>
                <a:lnTo>
                  <a:pt x="3525901" y="1066800"/>
                </a:lnTo>
                <a:lnTo>
                  <a:pt x="4770501" y="1066800"/>
                </a:lnTo>
                <a:lnTo>
                  <a:pt x="4817758" y="1060447"/>
                </a:lnTo>
                <a:lnTo>
                  <a:pt x="4860228" y="1042519"/>
                </a:lnTo>
                <a:lnTo>
                  <a:pt x="4896215" y="1014714"/>
                </a:lnTo>
                <a:lnTo>
                  <a:pt x="4924020" y="978727"/>
                </a:lnTo>
                <a:lnTo>
                  <a:pt x="4941948" y="936257"/>
                </a:lnTo>
                <a:lnTo>
                  <a:pt x="4948301" y="889000"/>
                </a:lnTo>
                <a:lnTo>
                  <a:pt x="4948301" y="177800"/>
                </a:lnTo>
                <a:lnTo>
                  <a:pt x="4941948" y="130542"/>
                </a:lnTo>
                <a:lnTo>
                  <a:pt x="4924020" y="88072"/>
                </a:lnTo>
                <a:lnTo>
                  <a:pt x="4896215" y="52085"/>
                </a:lnTo>
                <a:lnTo>
                  <a:pt x="4860228" y="24280"/>
                </a:lnTo>
                <a:lnTo>
                  <a:pt x="4817758" y="6352"/>
                </a:lnTo>
                <a:lnTo>
                  <a:pt x="4770501" y="0"/>
                </a:lnTo>
                <a:close/>
              </a:path>
            </a:pathLst>
          </a:custGeom>
          <a:solidFill>
            <a:srgbClr val="FFFFCC"/>
          </a:solidFill>
        </p:spPr>
        <p:txBody>
          <a:bodyPr wrap="square" lIns="0" tIns="0" rIns="0" bIns="0" rtlCol="0"/>
          <a:lstStyle/>
          <a:p>
            <a:endParaRPr/>
          </a:p>
        </p:txBody>
      </p:sp>
      <p:sp>
        <p:nvSpPr>
          <p:cNvPr id="11" name="object 11"/>
          <p:cNvSpPr/>
          <p:nvPr/>
        </p:nvSpPr>
        <p:spPr>
          <a:xfrm>
            <a:off x="2519298" y="3200400"/>
            <a:ext cx="4948555" cy="1066800"/>
          </a:xfrm>
          <a:custGeom>
            <a:avLst/>
            <a:gdLst/>
            <a:ahLst/>
            <a:cxnLst/>
            <a:rect l="l" t="t" r="r" b="b"/>
            <a:pathLst>
              <a:path w="4948555" h="1066800">
                <a:moveTo>
                  <a:pt x="3348101" y="177800"/>
                </a:moveTo>
                <a:lnTo>
                  <a:pt x="3354453" y="130542"/>
                </a:lnTo>
                <a:lnTo>
                  <a:pt x="3372381" y="88072"/>
                </a:lnTo>
                <a:lnTo>
                  <a:pt x="3400186" y="52085"/>
                </a:lnTo>
                <a:lnTo>
                  <a:pt x="3436173" y="24280"/>
                </a:lnTo>
                <a:lnTo>
                  <a:pt x="3478643" y="6352"/>
                </a:lnTo>
                <a:lnTo>
                  <a:pt x="3525901" y="0"/>
                </a:lnTo>
                <a:lnTo>
                  <a:pt x="3614801" y="0"/>
                </a:lnTo>
                <a:lnTo>
                  <a:pt x="4014851" y="0"/>
                </a:lnTo>
                <a:lnTo>
                  <a:pt x="4770501" y="0"/>
                </a:lnTo>
                <a:lnTo>
                  <a:pt x="4817758" y="6352"/>
                </a:lnTo>
                <a:lnTo>
                  <a:pt x="4860228" y="24280"/>
                </a:lnTo>
                <a:lnTo>
                  <a:pt x="4896215" y="52085"/>
                </a:lnTo>
                <a:lnTo>
                  <a:pt x="4924020" y="88072"/>
                </a:lnTo>
                <a:lnTo>
                  <a:pt x="4941948" y="130542"/>
                </a:lnTo>
                <a:lnTo>
                  <a:pt x="4948301" y="177800"/>
                </a:lnTo>
                <a:lnTo>
                  <a:pt x="4948301" y="444500"/>
                </a:lnTo>
                <a:lnTo>
                  <a:pt x="4948301" y="889000"/>
                </a:lnTo>
                <a:lnTo>
                  <a:pt x="4941948" y="936257"/>
                </a:lnTo>
                <a:lnTo>
                  <a:pt x="4924020" y="978727"/>
                </a:lnTo>
                <a:lnTo>
                  <a:pt x="4896215" y="1014714"/>
                </a:lnTo>
                <a:lnTo>
                  <a:pt x="4860228" y="1042519"/>
                </a:lnTo>
                <a:lnTo>
                  <a:pt x="4817758" y="1060447"/>
                </a:lnTo>
                <a:lnTo>
                  <a:pt x="4770501" y="1066800"/>
                </a:lnTo>
                <a:lnTo>
                  <a:pt x="4014851" y="1066800"/>
                </a:lnTo>
                <a:lnTo>
                  <a:pt x="3614801" y="1066800"/>
                </a:lnTo>
                <a:lnTo>
                  <a:pt x="3525901" y="1066800"/>
                </a:lnTo>
                <a:lnTo>
                  <a:pt x="3478643" y="1060447"/>
                </a:lnTo>
                <a:lnTo>
                  <a:pt x="3436173" y="1042519"/>
                </a:lnTo>
                <a:lnTo>
                  <a:pt x="3400186" y="1014714"/>
                </a:lnTo>
                <a:lnTo>
                  <a:pt x="3372381" y="978727"/>
                </a:lnTo>
                <a:lnTo>
                  <a:pt x="3354453" y="936257"/>
                </a:lnTo>
                <a:lnTo>
                  <a:pt x="3348101" y="889000"/>
                </a:lnTo>
                <a:lnTo>
                  <a:pt x="3348101" y="444500"/>
                </a:lnTo>
                <a:lnTo>
                  <a:pt x="0" y="195325"/>
                </a:lnTo>
                <a:lnTo>
                  <a:pt x="3348101" y="177800"/>
                </a:lnTo>
                <a:close/>
              </a:path>
            </a:pathLst>
          </a:custGeom>
          <a:ln w="12700">
            <a:solidFill>
              <a:srgbClr val="000000"/>
            </a:solidFill>
          </a:ln>
        </p:spPr>
        <p:txBody>
          <a:bodyPr wrap="square" lIns="0" tIns="0" rIns="0" bIns="0" rtlCol="0"/>
          <a:lstStyle/>
          <a:p>
            <a:endParaRPr/>
          </a:p>
        </p:txBody>
      </p:sp>
      <p:sp>
        <p:nvSpPr>
          <p:cNvPr id="12" name="object 12"/>
          <p:cNvSpPr txBox="1"/>
          <p:nvPr/>
        </p:nvSpPr>
        <p:spPr>
          <a:xfrm>
            <a:off x="5999226" y="3296285"/>
            <a:ext cx="1297940" cy="777240"/>
          </a:xfrm>
          <a:prstGeom prst="rect">
            <a:avLst/>
          </a:prstGeom>
        </p:spPr>
        <p:txBody>
          <a:bodyPr vert="horz" wrap="square" lIns="0" tIns="0" rIns="0" bIns="0" rtlCol="0">
            <a:spAutoFit/>
          </a:bodyPr>
          <a:lstStyle/>
          <a:p>
            <a:pPr marL="12700" marR="5080">
              <a:lnSpc>
                <a:spcPts val="1510"/>
              </a:lnSpc>
            </a:pPr>
            <a:r>
              <a:rPr sz="1400" b="1" dirty="0">
                <a:latin typeface="Times New Roman"/>
                <a:cs typeface="Times New Roman"/>
              </a:rPr>
              <a:t>Lead </a:t>
            </a:r>
            <a:r>
              <a:rPr sz="1400" b="1" spc="-5" dirty="0">
                <a:latin typeface="Times New Roman"/>
                <a:cs typeface="Times New Roman"/>
              </a:rPr>
              <a:t>time  maintained </a:t>
            </a:r>
            <a:r>
              <a:rPr sz="1400" b="1" dirty="0">
                <a:latin typeface="Times New Roman"/>
                <a:cs typeface="Times New Roman"/>
              </a:rPr>
              <a:t>is  used for</a:t>
            </a:r>
            <a:r>
              <a:rPr sz="1400" b="1" spc="-140" dirty="0">
                <a:latin typeface="Times New Roman"/>
                <a:cs typeface="Times New Roman"/>
              </a:rPr>
              <a:t> </a:t>
            </a:r>
            <a:r>
              <a:rPr sz="1400" b="1" dirty="0">
                <a:latin typeface="Times New Roman"/>
                <a:cs typeface="Times New Roman"/>
              </a:rPr>
              <a:t>delivery  </a:t>
            </a:r>
            <a:r>
              <a:rPr sz="1400" b="1" spc="-5" dirty="0">
                <a:latin typeface="Times New Roman"/>
                <a:cs typeface="Times New Roman"/>
              </a:rPr>
              <a:t>proposal</a:t>
            </a:r>
            <a:endParaRPr sz="1400">
              <a:latin typeface="Times New Roman"/>
              <a:cs typeface="Times New Roman"/>
            </a:endParaRPr>
          </a:p>
        </p:txBody>
      </p:sp>
      <p:sp>
        <p:nvSpPr>
          <p:cNvPr id="14" name="object 14"/>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41</a:t>
            </a:fld>
            <a:endParaRPr sz="1200">
              <a:latin typeface="Symbol"/>
              <a:cs typeface="Symbol"/>
            </a:endParaRP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8174735" y="260604"/>
            <a:ext cx="886968"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prstGeom prst="rect">
            <a:avLst/>
          </a:prstGeom>
        </p:spPr>
        <p:txBody>
          <a:bodyPr vert="horz" wrap="square" lIns="0" tIns="0" rIns="0" bIns="0" rtlCol="0">
            <a:spAutoFit/>
          </a:bodyPr>
          <a:lstStyle/>
          <a:p>
            <a:r>
              <a:rPr dirty="0"/>
              <a:t>Assign Shipping Point to Plant</a:t>
            </a:r>
          </a:p>
        </p:txBody>
      </p:sp>
      <p:sp>
        <p:nvSpPr>
          <p:cNvPr id="5" name="object 5"/>
          <p:cNvSpPr txBox="1"/>
          <p:nvPr/>
        </p:nvSpPr>
        <p:spPr>
          <a:xfrm>
            <a:off x="4712334" y="3958208"/>
            <a:ext cx="3731260" cy="830997"/>
          </a:xfrm>
          <a:prstGeom prst="rect">
            <a:avLst/>
          </a:prstGeom>
        </p:spPr>
        <p:txBody>
          <a:bodyPr vert="horz" wrap="square" lIns="0" tIns="0" rIns="0" bIns="0" rtlCol="0">
            <a:spAutoFit/>
          </a:bodyPr>
          <a:lstStyle/>
          <a:p>
            <a:pPr marL="298450" marR="5080" indent="-285750">
              <a:lnSpc>
                <a:spcPct val="100000"/>
              </a:lnSpc>
              <a:buClr>
                <a:srgbClr val="00B0F0"/>
              </a:buClr>
              <a:buFont typeface="Wingdings" panose="05000000000000000000" pitchFamily="2" charset="2"/>
              <a:buChar char="§"/>
              <a:tabLst>
                <a:tab pos="139700" algn="l"/>
              </a:tabLst>
            </a:pPr>
            <a:r>
              <a:rPr spc="-5" dirty="0">
                <a:latin typeface="Arial"/>
                <a:cs typeface="Arial"/>
              </a:rPr>
              <a:t>More than one Shipping Point can be  assigned to  a Plant and vice versa</a:t>
            </a:r>
          </a:p>
        </p:txBody>
      </p:sp>
      <p:sp>
        <p:nvSpPr>
          <p:cNvPr id="6" name="object 6"/>
          <p:cNvSpPr/>
          <p:nvPr/>
        </p:nvSpPr>
        <p:spPr>
          <a:xfrm>
            <a:off x="4376801" y="1295400"/>
            <a:ext cx="2209800" cy="2209800"/>
          </a:xfrm>
          <a:custGeom>
            <a:avLst/>
            <a:gdLst/>
            <a:ahLst/>
            <a:cxnLst/>
            <a:rect l="l" t="t" r="r" b="b"/>
            <a:pathLst>
              <a:path w="2209800" h="2209800">
                <a:moveTo>
                  <a:pt x="1104900" y="0"/>
                </a:moveTo>
                <a:lnTo>
                  <a:pt x="1056970" y="1020"/>
                </a:lnTo>
                <a:lnTo>
                  <a:pt x="1009562" y="4055"/>
                </a:lnTo>
                <a:lnTo>
                  <a:pt x="962718" y="9062"/>
                </a:lnTo>
                <a:lnTo>
                  <a:pt x="916478" y="16001"/>
                </a:lnTo>
                <a:lnTo>
                  <a:pt x="870883" y="24828"/>
                </a:lnTo>
                <a:lnTo>
                  <a:pt x="825977" y="35504"/>
                </a:lnTo>
                <a:lnTo>
                  <a:pt x="781799" y="47987"/>
                </a:lnTo>
                <a:lnTo>
                  <a:pt x="738392" y="62235"/>
                </a:lnTo>
                <a:lnTo>
                  <a:pt x="695796" y="78207"/>
                </a:lnTo>
                <a:lnTo>
                  <a:pt x="654054" y="95861"/>
                </a:lnTo>
                <a:lnTo>
                  <a:pt x="613207" y="115155"/>
                </a:lnTo>
                <a:lnTo>
                  <a:pt x="573295" y="136050"/>
                </a:lnTo>
                <a:lnTo>
                  <a:pt x="534362" y="158502"/>
                </a:lnTo>
                <a:lnTo>
                  <a:pt x="496447" y="182471"/>
                </a:lnTo>
                <a:lnTo>
                  <a:pt x="459593" y="207914"/>
                </a:lnTo>
                <a:lnTo>
                  <a:pt x="423841" y="234792"/>
                </a:lnTo>
                <a:lnTo>
                  <a:pt x="389232" y="263062"/>
                </a:lnTo>
                <a:lnTo>
                  <a:pt x="355809" y="292682"/>
                </a:lnTo>
                <a:lnTo>
                  <a:pt x="323611" y="323611"/>
                </a:lnTo>
                <a:lnTo>
                  <a:pt x="292682" y="355809"/>
                </a:lnTo>
                <a:lnTo>
                  <a:pt x="263062" y="389232"/>
                </a:lnTo>
                <a:lnTo>
                  <a:pt x="234792" y="423841"/>
                </a:lnTo>
                <a:lnTo>
                  <a:pt x="207914" y="459593"/>
                </a:lnTo>
                <a:lnTo>
                  <a:pt x="182471" y="496447"/>
                </a:lnTo>
                <a:lnTo>
                  <a:pt x="158502" y="534362"/>
                </a:lnTo>
                <a:lnTo>
                  <a:pt x="136050" y="573295"/>
                </a:lnTo>
                <a:lnTo>
                  <a:pt x="115155" y="613207"/>
                </a:lnTo>
                <a:lnTo>
                  <a:pt x="95861" y="654054"/>
                </a:lnTo>
                <a:lnTo>
                  <a:pt x="78207" y="695796"/>
                </a:lnTo>
                <a:lnTo>
                  <a:pt x="62235" y="738392"/>
                </a:lnTo>
                <a:lnTo>
                  <a:pt x="47987" y="781799"/>
                </a:lnTo>
                <a:lnTo>
                  <a:pt x="35504" y="825977"/>
                </a:lnTo>
                <a:lnTo>
                  <a:pt x="24828" y="870883"/>
                </a:lnTo>
                <a:lnTo>
                  <a:pt x="16001" y="916478"/>
                </a:lnTo>
                <a:lnTo>
                  <a:pt x="9062" y="962718"/>
                </a:lnTo>
                <a:lnTo>
                  <a:pt x="4055" y="1009562"/>
                </a:lnTo>
                <a:lnTo>
                  <a:pt x="1020" y="1056970"/>
                </a:lnTo>
                <a:lnTo>
                  <a:pt x="0" y="1104900"/>
                </a:lnTo>
                <a:lnTo>
                  <a:pt x="1020" y="1152829"/>
                </a:lnTo>
                <a:lnTo>
                  <a:pt x="4055" y="1200237"/>
                </a:lnTo>
                <a:lnTo>
                  <a:pt x="9062" y="1247081"/>
                </a:lnTo>
                <a:lnTo>
                  <a:pt x="16001" y="1293321"/>
                </a:lnTo>
                <a:lnTo>
                  <a:pt x="24828" y="1338916"/>
                </a:lnTo>
                <a:lnTo>
                  <a:pt x="35504" y="1383822"/>
                </a:lnTo>
                <a:lnTo>
                  <a:pt x="47987" y="1428000"/>
                </a:lnTo>
                <a:lnTo>
                  <a:pt x="62235" y="1471407"/>
                </a:lnTo>
                <a:lnTo>
                  <a:pt x="78207" y="1514003"/>
                </a:lnTo>
                <a:lnTo>
                  <a:pt x="95861" y="1555745"/>
                </a:lnTo>
                <a:lnTo>
                  <a:pt x="115155" y="1596592"/>
                </a:lnTo>
                <a:lnTo>
                  <a:pt x="136050" y="1636504"/>
                </a:lnTo>
                <a:lnTo>
                  <a:pt x="158502" y="1675437"/>
                </a:lnTo>
                <a:lnTo>
                  <a:pt x="182471" y="1713352"/>
                </a:lnTo>
                <a:lnTo>
                  <a:pt x="207914" y="1750206"/>
                </a:lnTo>
                <a:lnTo>
                  <a:pt x="234792" y="1785958"/>
                </a:lnTo>
                <a:lnTo>
                  <a:pt x="263062" y="1820567"/>
                </a:lnTo>
                <a:lnTo>
                  <a:pt x="292682" y="1853990"/>
                </a:lnTo>
                <a:lnTo>
                  <a:pt x="323611" y="1886188"/>
                </a:lnTo>
                <a:lnTo>
                  <a:pt x="355809" y="1917117"/>
                </a:lnTo>
                <a:lnTo>
                  <a:pt x="389232" y="1946737"/>
                </a:lnTo>
                <a:lnTo>
                  <a:pt x="423841" y="1975007"/>
                </a:lnTo>
                <a:lnTo>
                  <a:pt x="459593" y="2001885"/>
                </a:lnTo>
                <a:lnTo>
                  <a:pt x="496447" y="2027328"/>
                </a:lnTo>
                <a:lnTo>
                  <a:pt x="534362" y="2051297"/>
                </a:lnTo>
                <a:lnTo>
                  <a:pt x="573295" y="2073749"/>
                </a:lnTo>
                <a:lnTo>
                  <a:pt x="613207" y="2094644"/>
                </a:lnTo>
                <a:lnTo>
                  <a:pt x="654054" y="2113938"/>
                </a:lnTo>
                <a:lnTo>
                  <a:pt x="695796" y="2131592"/>
                </a:lnTo>
                <a:lnTo>
                  <a:pt x="738392" y="2147564"/>
                </a:lnTo>
                <a:lnTo>
                  <a:pt x="781799" y="2161812"/>
                </a:lnTo>
                <a:lnTo>
                  <a:pt x="825977" y="2174295"/>
                </a:lnTo>
                <a:lnTo>
                  <a:pt x="870883" y="2184971"/>
                </a:lnTo>
                <a:lnTo>
                  <a:pt x="916478" y="2193798"/>
                </a:lnTo>
                <a:lnTo>
                  <a:pt x="962718" y="2200737"/>
                </a:lnTo>
                <a:lnTo>
                  <a:pt x="1009562" y="2205744"/>
                </a:lnTo>
                <a:lnTo>
                  <a:pt x="1056970" y="2208779"/>
                </a:lnTo>
                <a:lnTo>
                  <a:pt x="1104900" y="2209800"/>
                </a:lnTo>
                <a:lnTo>
                  <a:pt x="1152819" y="2208779"/>
                </a:lnTo>
                <a:lnTo>
                  <a:pt x="1200219" y="2205744"/>
                </a:lnTo>
                <a:lnTo>
                  <a:pt x="1247056" y="2200737"/>
                </a:lnTo>
                <a:lnTo>
                  <a:pt x="1293289" y="2193798"/>
                </a:lnTo>
                <a:lnTo>
                  <a:pt x="1338878" y="2184971"/>
                </a:lnTo>
                <a:lnTo>
                  <a:pt x="1383780" y="2174295"/>
                </a:lnTo>
                <a:lnTo>
                  <a:pt x="1427953" y="2161812"/>
                </a:lnTo>
                <a:lnTo>
                  <a:pt x="1471357" y="2147564"/>
                </a:lnTo>
                <a:lnTo>
                  <a:pt x="1513950" y="2131592"/>
                </a:lnTo>
                <a:lnTo>
                  <a:pt x="1555690" y="2113938"/>
                </a:lnTo>
                <a:lnTo>
                  <a:pt x="1596537" y="2094644"/>
                </a:lnTo>
                <a:lnTo>
                  <a:pt x="1636447" y="2073749"/>
                </a:lnTo>
                <a:lnTo>
                  <a:pt x="1675381" y="2051297"/>
                </a:lnTo>
                <a:lnTo>
                  <a:pt x="1713296" y="2027328"/>
                </a:lnTo>
                <a:lnTo>
                  <a:pt x="1750151" y="2001885"/>
                </a:lnTo>
                <a:lnTo>
                  <a:pt x="1785904" y="1975007"/>
                </a:lnTo>
                <a:lnTo>
                  <a:pt x="1820515" y="1946737"/>
                </a:lnTo>
                <a:lnTo>
                  <a:pt x="1853940" y="1917117"/>
                </a:lnTo>
                <a:lnTo>
                  <a:pt x="1886140" y="1886188"/>
                </a:lnTo>
                <a:lnTo>
                  <a:pt x="1917072" y="1853990"/>
                </a:lnTo>
                <a:lnTo>
                  <a:pt x="1946695" y="1820567"/>
                </a:lnTo>
                <a:lnTo>
                  <a:pt x="1974968" y="1785958"/>
                </a:lnTo>
                <a:lnTo>
                  <a:pt x="2001849" y="1750206"/>
                </a:lnTo>
                <a:lnTo>
                  <a:pt x="2027296" y="1713352"/>
                </a:lnTo>
                <a:lnTo>
                  <a:pt x="2051268" y="1675437"/>
                </a:lnTo>
                <a:lnTo>
                  <a:pt x="2073723" y="1636504"/>
                </a:lnTo>
                <a:lnTo>
                  <a:pt x="2094621" y="1596592"/>
                </a:lnTo>
                <a:lnTo>
                  <a:pt x="2113919" y="1555745"/>
                </a:lnTo>
                <a:lnTo>
                  <a:pt x="2131576" y="1514003"/>
                </a:lnTo>
                <a:lnTo>
                  <a:pt x="2147551" y="1471407"/>
                </a:lnTo>
                <a:lnTo>
                  <a:pt x="2161801" y="1428000"/>
                </a:lnTo>
                <a:lnTo>
                  <a:pt x="2174287" y="1383822"/>
                </a:lnTo>
                <a:lnTo>
                  <a:pt x="2184965" y="1338916"/>
                </a:lnTo>
                <a:lnTo>
                  <a:pt x="2193795" y="1293321"/>
                </a:lnTo>
                <a:lnTo>
                  <a:pt x="2200735" y="1247081"/>
                </a:lnTo>
                <a:lnTo>
                  <a:pt x="2205743" y="1200237"/>
                </a:lnTo>
                <a:lnTo>
                  <a:pt x="2208778" y="1152829"/>
                </a:lnTo>
                <a:lnTo>
                  <a:pt x="2209800" y="1104900"/>
                </a:lnTo>
                <a:lnTo>
                  <a:pt x="2208778" y="1056970"/>
                </a:lnTo>
                <a:lnTo>
                  <a:pt x="2205743" y="1009562"/>
                </a:lnTo>
                <a:lnTo>
                  <a:pt x="2200735" y="962718"/>
                </a:lnTo>
                <a:lnTo>
                  <a:pt x="2193795" y="916478"/>
                </a:lnTo>
                <a:lnTo>
                  <a:pt x="2184965" y="870883"/>
                </a:lnTo>
                <a:lnTo>
                  <a:pt x="2174287" y="825977"/>
                </a:lnTo>
                <a:lnTo>
                  <a:pt x="2161801" y="781799"/>
                </a:lnTo>
                <a:lnTo>
                  <a:pt x="2147551" y="738392"/>
                </a:lnTo>
                <a:lnTo>
                  <a:pt x="2131576" y="695796"/>
                </a:lnTo>
                <a:lnTo>
                  <a:pt x="2113919" y="654054"/>
                </a:lnTo>
                <a:lnTo>
                  <a:pt x="2094621" y="613207"/>
                </a:lnTo>
                <a:lnTo>
                  <a:pt x="2073723" y="573295"/>
                </a:lnTo>
                <a:lnTo>
                  <a:pt x="2051268" y="534362"/>
                </a:lnTo>
                <a:lnTo>
                  <a:pt x="2027296" y="496447"/>
                </a:lnTo>
                <a:lnTo>
                  <a:pt x="2001849" y="459593"/>
                </a:lnTo>
                <a:lnTo>
                  <a:pt x="1974968" y="423841"/>
                </a:lnTo>
                <a:lnTo>
                  <a:pt x="1946695" y="389232"/>
                </a:lnTo>
                <a:lnTo>
                  <a:pt x="1917072" y="355809"/>
                </a:lnTo>
                <a:lnTo>
                  <a:pt x="1886140" y="323611"/>
                </a:lnTo>
                <a:lnTo>
                  <a:pt x="1853940" y="292682"/>
                </a:lnTo>
                <a:lnTo>
                  <a:pt x="1820515" y="263062"/>
                </a:lnTo>
                <a:lnTo>
                  <a:pt x="1785904" y="234792"/>
                </a:lnTo>
                <a:lnTo>
                  <a:pt x="1750151" y="207914"/>
                </a:lnTo>
                <a:lnTo>
                  <a:pt x="1713296" y="182471"/>
                </a:lnTo>
                <a:lnTo>
                  <a:pt x="1675381" y="158502"/>
                </a:lnTo>
                <a:lnTo>
                  <a:pt x="1636447" y="136050"/>
                </a:lnTo>
                <a:lnTo>
                  <a:pt x="1596537" y="115155"/>
                </a:lnTo>
                <a:lnTo>
                  <a:pt x="1555690" y="95861"/>
                </a:lnTo>
                <a:lnTo>
                  <a:pt x="1513950" y="78207"/>
                </a:lnTo>
                <a:lnTo>
                  <a:pt x="1471357" y="62235"/>
                </a:lnTo>
                <a:lnTo>
                  <a:pt x="1427953" y="47987"/>
                </a:lnTo>
                <a:lnTo>
                  <a:pt x="1383780" y="35504"/>
                </a:lnTo>
                <a:lnTo>
                  <a:pt x="1338878" y="24828"/>
                </a:lnTo>
                <a:lnTo>
                  <a:pt x="1293289" y="16001"/>
                </a:lnTo>
                <a:lnTo>
                  <a:pt x="1247056" y="9062"/>
                </a:lnTo>
                <a:lnTo>
                  <a:pt x="1200219" y="4055"/>
                </a:lnTo>
                <a:lnTo>
                  <a:pt x="1152819" y="1020"/>
                </a:lnTo>
                <a:lnTo>
                  <a:pt x="1104900" y="0"/>
                </a:lnTo>
                <a:close/>
              </a:path>
            </a:pathLst>
          </a:custGeom>
          <a:solidFill>
            <a:srgbClr val="AED6FF"/>
          </a:solidFill>
        </p:spPr>
        <p:txBody>
          <a:bodyPr wrap="square" lIns="0" tIns="0" rIns="0" bIns="0" rtlCol="0"/>
          <a:lstStyle/>
          <a:p>
            <a:endParaRPr/>
          </a:p>
        </p:txBody>
      </p:sp>
      <p:sp>
        <p:nvSpPr>
          <p:cNvPr id="7" name="object 7"/>
          <p:cNvSpPr/>
          <p:nvPr/>
        </p:nvSpPr>
        <p:spPr>
          <a:xfrm>
            <a:off x="4376801" y="1295400"/>
            <a:ext cx="2209800" cy="2209800"/>
          </a:xfrm>
          <a:custGeom>
            <a:avLst/>
            <a:gdLst/>
            <a:ahLst/>
            <a:cxnLst/>
            <a:rect l="l" t="t" r="r" b="b"/>
            <a:pathLst>
              <a:path w="2209800" h="2209800">
                <a:moveTo>
                  <a:pt x="0" y="1104900"/>
                </a:moveTo>
                <a:lnTo>
                  <a:pt x="1020" y="1056970"/>
                </a:lnTo>
                <a:lnTo>
                  <a:pt x="4055" y="1009562"/>
                </a:lnTo>
                <a:lnTo>
                  <a:pt x="9062" y="962718"/>
                </a:lnTo>
                <a:lnTo>
                  <a:pt x="16001" y="916478"/>
                </a:lnTo>
                <a:lnTo>
                  <a:pt x="24828" y="870883"/>
                </a:lnTo>
                <a:lnTo>
                  <a:pt x="35504" y="825977"/>
                </a:lnTo>
                <a:lnTo>
                  <a:pt x="47987" y="781799"/>
                </a:lnTo>
                <a:lnTo>
                  <a:pt x="62235" y="738392"/>
                </a:lnTo>
                <a:lnTo>
                  <a:pt x="78207" y="695796"/>
                </a:lnTo>
                <a:lnTo>
                  <a:pt x="95861" y="654054"/>
                </a:lnTo>
                <a:lnTo>
                  <a:pt x="115155" y="613207"/>
                </a:lnTo>
                <a:lnTo>
                  <a:pt x="136050" y="573295"/>
                </a:lnTo>
                <a:lnTo>
                  <a:pt x="158502" y="534362"/>
                </a:lnTo>
                <a:lnTo>
                  <a:pt x="182471" y="496447"/>
                </a:lnTo>
                <a:lnTo>
                  <a:pt x="207914" y="459593"/>
                </a:lnTo>
                <a:lnTo>
                  <a:pt x="234792" y="423841"/>
                </a:lnTo>
                <a:lnTo>
                  <a:pt x="263062" y="389232"/>
                </a:lnTo>
                <a:lnTo>
                  <a:pt x="292682" y="355809"/>
                </a:lnTo>
                <a:lnTo>
                  <a:pt x="323611" y="323611"/>
                </a:lnTo>
                <a:lnTo>
                  <a:pt x="355809" y="292682"/>
                </a:lnTo>
                <a:lnTo>
                  <a:pt x="389232" y="263062"/>
                </a:lnTo>
                <a:lnTo>
                  <a:pt x="423841" y="234792"/>
                </a:lnTo>
                <a:lnTo>
                  <a:pt x="459593" y="207914"/>
                </a:lnTo>
                <a:lnTo>
                  <a:pt x="496447" y="182471"/>
                </a:lnTo>
                <a:lnTo>
                  <a:pt x="534362" y="158502"/>
                </a:lnTo>
                <a:lnTo>
                  <a:pt x="573295" y="136050"/>
                </a:lnTo>
                <a:lnTo>
                  <a:pt x="613207" y="115155"/>
                </a:lnTo>
                <a:lnTo>
                  <a:pt x="654054" y="95861"/>
                </a:lnTo>
                <a:lnTo>
                  <a:pt x="695796" y="78207"/>
                </a:lnTo>
                <a:lnTo>
                  <a:pt x="738392" y="62235"/>
                </a:lnTo>
                <a:lnTo>
                  <a:pt x="781799" y="47987"/>
                </a:lnTo>
                <a:lnTo>
                  <a:pt x="825977" y="35504"/>
                </a:lnTo>
                <a:lnTo>
                  <a:pt x="870883" y="24828"/>
                </a:lnTo>
                <a:lnTo>
                  <a:pt x="916478" y="16001"/>
                </a:lnTo>
                <a:lnTo>
                  <a:pt x="962718" y="9062"/>
                </a:lnTo>
                <a:lnTo>
                  <a:pt x="1009562" y="4055"/>
                </a:lnTo>
                <a:lnTo>
                  <a:pt x="1056970" y="1020"/>
                </a:lnTo>
                <a:lnTo>
                  <a:pt x="1104900" y="0"/>
                </a:lnTo>
                <a:lnTo>
                  <a:pt x="1152819" y="1020"/>
                </a:lnTo>
                <a:lnTo>
                  <a:pt x="1200219" y="4055"/>
                </a:lnTo>
                <a:lnTo>
                  <a:pt x="1247056" y="9062"/>
                </a:lnTo>
                <a:lnTo>
                  <a:pt x="1293289" y="16001"/>
                </a:lnTo>
                <a:lnTo>
                  <a:pt x="1338878" y="24828"/>
                </a:lnTo>
                <a:lnTo>
                  <a:pt x="1383780" y="35504"/>
                </a:lnTo>
                <a:lnTo>
                  <a:pt x="1427953" y="47987"/>
                </a:lnTo>
                <a:lnTo>
                  <a:pt x="1471357" y="62235"/>
                </a:lnTo>
                <a:lnTo>
                  <a:pt x="1513950" y="78207"/>
                </a:lnTo>
                <a:lnTo>
                  <a:pt x="1555690" y="95861"/>
                </a:lnTo>
                <a:lnTo>
                  <a:pt x="1596537" y="115155"/>
                </a:lnTo>
                <a:lnTo>
                  <a:pt x="1636447" y="136050"/>
                </a:lnTo>
                <a:lnTo>
                  <a:pt x="1675381" y="158502"/>
                </a:lnTo>
                <a:lnTo>
                  <a:pt x="1713296" y="182471"/>
                </a:lnTo>
                <a:lnTo>
                  <a:pt x="1750151" y="207914"/>
                </a:lnTo>
                <a:lnTo>
                  <a:pt x="1785904" y="234792"/>
                </a:lnTo>
                <a:lnTo>
                  <a:pt x="1820515" y="263062"/>
                </a:lnTo>
                <a:lnTo>
                  <a:pt x="1853940" y="292682"/>
                </a:lnTo>
                <a:lnTo>
                  <a:pt x="1886140" y="323611"/>
                </a:lnTo>
                <a:lnTo>
                  <a:pt x="1917072" y="355809"/>
                </a:lnTo>
                <a:lnTo>
                  <a:pt x="1946695" y="389232"/>
                </a:lnTo>
                <a:lnTo>
                  <a:pt x="1974968" y="423841"/>
                </a:lnTo>
                <a:lnTo>
                  <a:pt x="2001849" y="459593"/>
                </a:lnTo>
                <a:lnTo>
                  <a:pt x="2027296" y="496447"/>
                </a:lnTo>
                <a:lnTo>
                  <a:pt x="2051268" y="534362"/>
                </a:lnTo>
                <a:lnTo>
                  <a:pt x="2073723" y="573295"/>
                </a:lnTo>
                <a:lnTo>
                  <a:pt x="2094621" y="613207"/>
                </a:lnTo>
                <a:lnTo>
                  <a:pt x="2113919" y="654054"/>
                </a:lnTo>
                <a:lnTo>
                  <a:pt x="2131576" y="695796"/>
                </a:lnTo>
                <a:lnTo>
                  <a:pt x="2147551" y="738392"/>
                </a:lnTo>
                <a:lnTo>
                  <a:pt x="2161801" y="781799"/>
                </a:lnTo>
                <a:lnTo>
                  <a:pt x="2174287" y="825977"/>
                </a:lnTo>
                <a:lnTo>
                  <a:pt x="2184965" y="870883"/>
                </a:lnTo>
                <a:lnTo>
                  <a:pt x="2193795" y="916478"/>
                </a:lnTo>
                <a:lnTo>
                  <a:pt x="2200735" y="962718"/>
                </a:lnTo>
                <a:lnTo>
                  <a:pt x="2205743" y="1009562"/>
                </a:lnTo>
                <a:lnTo>
                  <a:pt x="2208778" y="1056970"/>
                </a:lnTo>
                <a:lnTo>
                  <a:pt x="2209800" y="1104900"/>
                </a:lnTo>
                <a:lnTo>
                  <a:pt x="2208778" y="1152829"/>
                </a:lnTo>
                <a:lnTo>
                  <a:pt x="2205743" y="1200237"/>
                </a:lnTo>
                <a:lnTo>
                  <a:pt x="2200735" y="1247081"/>
                </a:lnTo>
                <a:lnTo>
                  <a:pt x="2193795" y="1293321"/>
                </a:lnTo>
                <a:lnTo>
                  <a:pt x="2184965" y="1338916"/>
                </a:lnTo>
                <a:lnTo>
                  <a:pt x="2174287" y="1383822"/>
                </a:lnTo>
                <a:lnTo>
                  <a:pt x="2161801" y="1428000"/>
                </a:lnTo>
                <a:lnTo>
                  <a:pt x="2147551" y="1471407"/>
                </a:lnTo>
                <a:lnTo>
                  <a:pt x="2131576" y="1514003"/>
                </a:lnTo>
                <a:lnTo>
                  <a:pt x="2113919" y="1555745"/>
                </a:lnTo>
                <a:lnTo>
                  <a:pt x="2094621" y="1596592"/>
                </a:lnTo>
                <a:lnTo>
                  <a:pt x="2073723" y="1636504"/>
                </a:lnTo>
                <a:lnTo>
                  <a:pt x="2051268" y="1675437"/>
                </a:lnTo>
                <a:lnTo>
                  <a:pt x="2027296" y="1713352"/>
                </a:lnTo>
                <a:lnTo>
                  <a:pt x="2001849" y="1750206"/>
                </a:lnTo>
                <a:lnTo>
                  <a:pt x="1974968" y="1785958"/>
                </a:lnTo>
                <a:lnTo>
                  <a:pt x="1946695" y="1820567"/>
                </a:lnTo>
                <a:lnTo>
                  <a:pt x="1917072" y="1853990"/>
                </a:lnTo>
                <a:lnTo>
                  <a:pt x="1886140" y="1886188"/>
                </a:lnTo>
                <a:lnTo>
                  <a:pt x="1853940" y="1917117"/>
                </a:lnTo>
                <a:lnTo>
                  <a:pt x="1820515" y="1946737"/>
                </a:lnTo>
                <a:lnTo>
                  <a:pt x="1785904" y="1975007"/>
                </a:lnTo>
                <a:lnTo>
                  <a:pt x="1750151" y="2001885"/>
                </a:lnTo>
                <a:lnTo>
                  <a:pt x="1713296" y="2027328"/>
                </a:lnTo>
                <a:lnTo>
                  <a:pt x="1675381" y="2051297"/>
                </a:lnTo>
                <a:lnTo>
                  <a:pt x="1636447" y="2073749"/>
                </a:lnTo>
                <a:lnTo>
                  <a:pt x="1596537" y="2094644"/>
                </a:lnTo>
                <a:lnTo>
                  <a:pt x="1555690" y="2113938"/>
                </a:lnTo>
                <a:lnTo>
                  <a:pt x="1513950" y="2131592"/>
                </a:lnTo>
                <a:lnTo>
                  <a:pt x="1471357" y="2147564"/>
                </a:lnTo>
                <a:lnTo>
                  <a:pt x="1427953" y="2161812"/>
                </a:lnTo>
                <a:lnTo>
                  <a:pt x="1383780" y="2174295"/>
                </a:lnTo>
                <a:lnTo>
                  <a:pt x="1338878" y="2184971"/>
                </a:lnTo>
                <a:lnTo>
                  <a:pt x="1293289" y="2193798"/>
                </a:lnTo>
                <a:lnTo>
                  <a:pt x="1247056" y="2200737"/>
                </a:lnTo>
                <a:lnTo>
                  <a:pt x="1200219" y="2205744"/>
                </a:lnTo>
                <a:lnTo>
                  <a:pt x="1152819" y="2208779"/>
                </a:lnTo>
                <a:lnTo>
                  <a:pt x="1104900" y="2209800"/>
                </a:lnTo>
                <a:lnTo>
                  <a:pt x="1056970" y="2208779"/>
                </a:lnTo>
                <a:lnTo>
                  <a:pt x="1009562" y="2205744"/>
                </a:lnTo>
                <a:lnTo>
                  <a:pt x="962718" y="2200737"/>
                </a:lnTo>
                <a:lnTo>
                  <a:pt x="916478" y="2193798"/>
                </a:lnTo>
                <a:lnTo>
                  <a:pt x="870883" y="2184971"/>
                </a:lnTo>
                <a:lnTo>
                  <a:pt x="825977" y="2174295"/>
                </a:lnTo>
                <a:lnTo>
                  <a:pt x="781799" y="2161812"/>
                </a:lnTo>
                <a:lnTo>
                  <a:pt x="738392" y="2147564"/>
                </a:lnTo>
                <a:lnTo>
                  <a:pt x="695796" y="2131592"/>
                </a:lnTo>
                <a:lnTo>
                  <a:pt x="654054" y="2113938"/>
                </a:lnTo>
                <a:lnTo>
                  <a:pt x="613207" y="2094644"/>
                </a:lnTo>
                <a:lnTo>
                  <a:pt x="573295" y="2073749"/>
                </a:lnTo>
                <a:lnTo>
                  <a:pt x="534362" y="2051297"/>
                </a:lnTo>
                <a:lnTo>
                  <a:pt x="496447" y="2027328"/>
                </a:lnTo>
                <a:lnTo>
                  <a:pt x="459593" y="2001885"/>
                </a:lnTo>
                <a:lnTo>
                  <a:pt x="423841" y="1975007"/>
                </a:lnTo>
                <a:lnTo>
                  <a:pt x="389232" y="1946737"/>
                </a:lnTo>
                <a:lnTo>
                  <a:pt x="355809" y="1917117"/>
                </a:lnTo>
                <a:lnTo>
                  <a:pt x="323611" y="1886188"/>
                </a:lnTo>
                <a:lnTo>
                  <a:pt x="292682" y="1853990"/>
                </a:lnTo>
                <a:lnTo>
                  <a:pt x="263062" y="1820567"/>
                </a:lnTo>
                <a:lnTo>
                  <a:pt x="234792" y="1785958"/>
                </a:lnTo>
                <a:lnTo>
                  <a:pt x="207914" y="1750206"/>
                </a:lnTo>
                <a:lnTo>
                  <a:pt x="182471" y="1713352"/>
                </a:lnTo>
                <a:lnTo>
                  <a:pt x="158502" y="1675437"/>
                </a:lnTo>
                <a:lnTo>
                  <a:pt x="136050" y="1636504"/>
                </a:lnTo>
                <a:lnTo>
                  <a:pt x="115155" y="1596592"/>
                </a:lnTo>
                <a:lnTo>
                  <a:pt x="95861" y="1555745"/>
                </a:lnTo>
                <a:lnTo>
                  <a:pt x="78207" y="1514003"/>
                </a:lnTo>
                <a:lnTo>
                  <a:pt x="62235" y="1471407"/>
                </a:lnTo>
                <a:lnTo>
                  <a:pt x="47987" y="1428000"/>
                </a:lnTo>
                <a:lnTo>
                  <a:pt x="35504" y="1383822"/>
                </a:lnTo>
                <a:lnTo>
                  <a:pt x="24828" y="1338916"/>
                </a:lnTo>
                <a:lnTo>
                  <a:pt x="16001" y="1293321"/>
                </a:lnTo>
                <a:lnTo>
                  <a:pt x="9062" y="1247081"/>
                </a:lnTo>
                <a:lnTo>
                  <a:pt x="4055" y="1200237"/>
                </a:lnTo>
                <a:lnTo>
                  <a:pt x="1020" y="1152829"/>
                </a:lnTo>
                <a:lnTo>
                  <a:pt x="0" y="1104900"/>
                </a:lnTo>
                <a:close/>
              </a:path>
            </a:pathLst>
          </a:custGeom>
          <a:ln w="88900">
            <a:solidFill>
              <a:srgbClr val="000080"/>
            </a:solidFill>
          </a:ln>
        </p:spPr>
        <p:txBody>
          <a:bodyPr wrap="square" lIns="0" tIns="0" rIns="0" bIns="0" rtlCol="0"/>
          <a:lstStyle/>
          <a:p>
            <a:endParaRPr/>
          </a:p>
        </p:txBody>
      </p:sp>
      <p:sp>
        <p:nvSpPr>
          <p:cNvPr id="8" name="object 8"/>
          <p:cNvSpPr/>
          <p:nvPr/>
        </p:nvSpPr>
        <p:spPr>
          <a:xfrm>
            <a:off x="4887340" y="1473580"/>
            <a:ext cx="1138428" cy="641604"/>
          </a:xfrm>
          <a:prstGeom prst="rect">
            <a:avLst/>
          </a:prstGeom>
          <a:blipFill>
            <a:blip r:embed="rId3" cstate="print"/>
            <a:stretch>
              <a:fillRect/>
            </a:stretch>
          </a:blipFill>
        </p:spPr>
        <p:txBody>
          <a:bodyPr wrap="square" lIns="0" tIns="0" rIns="0" bIns="0" rtlCol="0"/>
          <a:lstStyle/>
          <a:p>
            <a:endParaRPr/>
          </a:p>
        </p:txBody>
      </p:sp>
      <p:sp>
        <p:nvSpPr>
          <p:cNvPr id="9" name="object 9"/>
          <p:cNvSpPr/>
          <p:nvPr/>
        </p:nvSpPr>
        <p:spPr>
          <a:xfrm>
            <a:off x="4887340" y="1473580"/>
            <a:ext cx="1138555" cy="641985"/>
          </a:xfrm>
          <a:custGeom>
            <a:avLst/>
            <a:gdLst/>
            <a:ahLst/>
            <a:cxnLst/>
            <a:rect l="l" t="t" r="r" b="b"/>
            <a:pathLst>
              <a:path w="1138554" h="641985">
                <a:moveTo>
                  <a:pt x="0" y="320802"/>
                </a:moveTo>
                <a:lnTo>
                  <a:pt x="13130" y="251985"/>
                </a:lnTo>
                <a:lnTo>
                  <a:pt x="50669" y="188310"/>
                </a:lnTo>
                <a:lnTo>
                  <a:pt x="77723" y="158891"/>
                </a:lnTo>
                <a:lnTo>
                  <a:pt x="109837" y="131344"/>
                </a:lnTo>
                <a:lnTo>
                  <a:pt x="146663" y="105866"/>
                </a:lnTo>
                <a:lnTo>
                  <a:pt x="187854" y="82652"/>
                </a:lnTo>
                <a:lnTo>
                  <a:pt x="233062" y="61898"/>
                </a:lnTo>
                <a:lnTo>
                  <a:pt x="281939" y="43800"/>
                </a:lnTo>
                <a:lnTo>
                  <a:pt x="334140" y="28554"/>
                </a:lnTo>
                <a:lnTo>
                  <a:pt x="389314" y="16355"/>
                </a:lnTo>
                <a:lnTo>
                  <a:pt x="447117" y="7399"/>
                </a:lnTo>
                <a:lnTo>
                  <a:pt x="507199" y="1882"/>
                </a:lnTo>
                <a:lnTo>
                  <a:pt x="569213" y="0"/>
                </a:lnTo>
                <a:lnTo>
                  <a:pt x="631228" y="1882"/>
                </a:lnTo>
                <a:lnTo>
                  <a:pt x="691310" y="7399"/>
                </a:lnTo>
                <a:lnTo>
                  <a:pt x="749113" y="16355"/>
                </a:lnTo>
                <a:lnTo>
                  <a:pt x="804287" y="28554"/>
                </a:lnTo>
                <a:lnTo>
                  <a:pt x="856488" y="43800"/>
                </a:lnTo>
                <a:lnTo>
                  <a:pt x="905365" y="61898"/>
                </a:lnTo>
                <a:lnTo>
                  <a:pt x="950573" y="82652"/>
                </a:lnTo>
                <a:lnTo>
                  <a:pt x="991764" y="105866"/>
                </a:lnTo>
                <a:lnTo>
                  <a:pt x="1028590" y="131344"/>
                </a:lnTo>
                <a:lnTo>
                  <a:pt x="1060703" y="158891"/>
                </a:lnTo>
                <a:lnTo>
                  <a:pt x="1087758" y="188310"/>
                </a:lnTo>
                <a:lnTo>
                  <a:pt x="1125297" y="251985"/>
                </a:lnTo>
                <a:lnTo>
                  <a:pt x="1138428" y="320802"/>
                </a:lnTo>
                <a:lnTo>
                  <a:pt x="1135087" y="355755"/>
                </a:lnTo>
                <a:lnTo>
                  <a:pt x="1125297" y="389618"/>
                </a:lnTo>
                <a:lnTo>
                  <a:pt x="1087758" y="453293"/>
                </a:lnTo>
                <a:lnTo>
                  <a:pt x="1060704" y="482712"/>
                </a:lnTo>
                <a:lnTo>
                  <a:pt x="1028590" y="510259"/>
                </a:lnTo>
                <a:lnTo>
                  <a:pt x="991764" y="535737"/>
                </a:lnTo>
                <a:lnTo>
                  <a:pt x="950573" y="558951"/>
                </a:lnTo>
                <a:lnTo>
                  <a:pt x="905365" y="579705"/>
                </a:lnTo>
                <a:lnTo>
                  <a:pt x="856488" y="597803"/>
                </a:lnTo>
                <a:lnTo>
                  <a:pt x="804287" y="613049"/>
                </a:lnTo>
                <a:lnTo>
                  <a:pt x="749113" y="625248"/>
                </a:lnTo>
                <a:lnTo>
                  <a:pt x="691310" y="634204"/>
                </a:lnTo>
                <a:lnTo>
                  <a:pt x="631228" y="639721"/>
                </a:lnTo>
                <a:lnTo>
                  <a:pt x="569213" y="641604"/>
                </a:lnTo>
                <a:lnTo>
                  <a:pt x="507199" y="639721"/>
                </a:lnTo>
                <a:lnTo>
                  <a:pt x="447117" y="634204"/>
                </a:lnTo>
                <a:lnTo>
                  <a:pt x="389314" y="625248"/>
                </a:lnTo>
                <a:lnTo>
                  <a:pt x="334140" y="613049"/>
                </a:lnTo>
                <a:lnTo>
                  <a:pt x="281940" y="597803"/>
                </a:lnTo>
                <a:lnTo>
                  <a:pt x="233062" y="579705"/>
                </a:lnTo>
                <a:lnTo>
                  <a:pt x="187854" y="558951"/>
                </a:lnTo>
                <a:lnTo>
                  <a:pt x="146663" y="535737"/>
                </a:lnTo>
                <a:lnTo>
                  <a:pt x="109837" y="510259"/>
                </a:lnTo>
                <a:lnTo>
                  <a:pt x="77724" y="482712"/>
                </a:lnTo>
                <a:lnTo>
                  <a:pt x="50669" y="453293"/>
                </a:lnTo>
                <a:lnTo>
                  <a:pt x="13130" y="389618"/>
                </a:lnTo>
                <a:lnTo>
                  <a:pt x="0" y="320802"/>
                </a:lnTo>
                <a:close/>
              </a:path>
            </a:pathLst>
          </a:custGeom>
          <a:ln w="12700">
            <a:solidFill>
              <a:srgbClr val="DBFFC8"/>
            </a:solidFill>
          </a:ln>
        </p:spPr>
        <p:txBody>
          <a:bodyPr wrap="square" lIns="0" tIns="0" rIns="0" bIns="0" rtlCol="0"/>
          <a:lstStyle/>
          <a:p>
            <a:endParaRPr/>
          </a:p>
        </p:txBody>
      </p:sp>
      <p:sp>
        <p:nvSpPr>
          <p:cNvPr id="10" name="object 10"/>
          <p:cNvSpPr txBox="1"/>
          <p:nvPr/>
        </p:nvSpPr>
        <p:spPr>
          <a:xfrm>
            <a:off x="5007609" y="1512696"/>
            <a:ext cx="901065" cy="274320"/>
          </a:xfrm>
          <a:prstGeom prst="rect">
            <a:avLst/>
          </a:prstGeom>
        </p:spPr>
        <p:txBody>
          <a:bodyPr vert="horz" wrap="square" lIns="0" tIns="0" rIns="0" bIns="0" rtlCol="0">
            <a:spAutoFit/>
          </a:bodyPr>
          <a:lstStyle/>
          <a:p>
            <a:pPr marL="12700">
              <a:lnSpc>
                <a:spcPct val="100000"/>
              </a:lnSpc>
            </a:pPr>
            <a:r>
              <a:rPr sz="1800" b="1" spc="-5" dirty="0">
                <a:latin typeface="Times New Roman"/>
                <a:cs typeface="Times New Roman"/>
              </a:rPr>
              <a:t>S</a:t>
            </a:r>
            <a:r>
              <a:rPr sz="1800" b="1" spc="-15" dirty="0">
                <a:latin typeface="Times New Roman"/>
                <a:cs typeface="Times New Roman"/>
              </a:rPr>
              <a:t>h</a:t>
            </a:r>
            <a:r>
              <a:rPr sz="1800" b="1" spc="-5" dirty="0">
                <a:latin typeface="Times New Roman"/>
                <a:cs typeface="Times New Roman"/>
              </a:rPr>
              <a:t>ip</a:t>
            </a:r>
            <a:r>
              <a:rPr sz="1800" b="1" spc="-15" dirty="0">
                <a:latin typeface="Times New Roman"/>
                <a:cs typeface="Times New Roman"/>
              </a:rPr>
              <a:t>p</a:t>
            </a:r>
            <a:r>
              <a:rPr sz="1800" b="1" dirty="0">
                <a:latin typeface="Times New Roman"/>
                <a:cs typeface="Times New Roman"/>
              </a:rPr>
              <a:t>ing</a:t>
            </a:r>
            <a:endParaRPr sz="1800">
              <a:latin typeface="Times New Roman"/>
              <a:cs typeface="Times New Roman"/>
            </a:endParaRPr>
          </a:p>
        </p:txBody>
      </p:sp>
      <p:sp>
        <p:nvSpPr>
          <p:cNvPr id="11" name="object 11"/>
          <p:cNvSpPr txBox="1"/>
          <p:nvPr/>
        </p:nvSpPr>
        <p:spPr>
          <a:xfrm>
            <a:off x="5184394" y="1787016"/>
            <a:ext cx="547370" cy="286385"/>
          </a:xfrm>
          <a:prstGeom prst="rect">
            <a:avLst/>
          </a:prstGeom>
        </p:spPr>
        <p:txBody>
          <a:bodyPr vert="horz" wrap="square" lIns="0" tIns="0" rIns="0" bIns="0" rtlCol="0">
            <a:spAutoFit/>
          </a:bodyPr>
          <a:lstStyle/>
          <a:p>
            <a:pPr marL="12700">
              <a:lnSpc>
                <a:spcPct val="100000"/>
              </a:lnSpc>
            </a:pPr>
            <a:r>
              <a:rPr sz="1800" b="1" dirty="0">
                <a:latin typeface="Times New Roman"/>
                <a:cs typeface="Times New Roman"/>
              </a:rPr>
              <a:t>Po</a:t>
            </a:r>
            <a:r>
              <a:rPr sz="1800" b="1" spc="5" dirty="0">
                <a:latin typeface="Times New Roman"/>
                <a:cs typeface="Times New Roman"/>
              </a:rPr>
              <a:t>i</a:t>
            </a:r>
            <a:r>
              <a:rPr sz="1800" b="1" spc="-5" dirty="0">
                <a:latin typeface="Times New Roman"/>
                <a:cs typeface="Times New Roman"/>
              </a:rPr>
              <a:t>nt</a:t>
            </a:r>
            <a:endParaRPr sz="1800">
              <a:latin typeface="Times New Roman"/>
              <a:cs typeface="Times New Roman"/>
            </a:endParaRPr>
          </a:p>
        </p:txBody>
      </p:sp>
      <p:sp>
        <p:nvSpPr>
          <p:cNvPr id="12" name="object 12"/>
          <p:cNvSpPr/>
          <p:nvPr/>
        </p:nvSpPr>
        <p:spPr>
          <a:xfrm>
            <a:off x="4644644" y="2614167"/>
            <a:ext cx="669543" cy="570230"/>
          </a:xfrm>
          <a:prstGeom prst="rect">
            <a:avLst/>
          </a:prstGeom>
          <a:blipFill>
            <a:blip r:embed="rId4" cstate="print"/>
            <a:stretch>
              <a:fillRect/>
            </a:stretch>
          </a:blipFill>
        </p:spPr>
        <p:txBody>
          <a:bodyPr wrap="square" lIns="0" tIns="0" rIns="0" bIns="0" rtlCol="0"/>
          <a:lstStyle/>
          <a:p>
            <a:endParaRPr/>
          </a:p>
        </p:txBody>
      </p:sp>
      <p:sp>
        <p:nvSpPr>
          <p:cNvPr id="13" name="object 13"/>
          <p:cNvSpPr/>
          <p:nvPr/>
        </p:nvSpPr>
        <p:spPr>
          <a:xfrm>
            <a:off x="4644644" y="2614167"/>
            <a:ext cx="669925" cy="570230"/>
          </a:xfrm>
          <a:custGeom>
            <a:avLst/>
            <a:gdLst/>
            <a:ahLst/>
            <a:cxnLst/>
            <a:rect l="l" t="t" r="r" b="b"/>
            <a:pathLst>
              <a:path w="669925" h="570230">
                <a:moveTo>
                  <a:pt x="0" y="285115"/>
                </a:moveTo>
                <a:lnTo>
                  <a:pt x="3629" y="242979"/>
                </a:lnTo>
                <a:lnTo>
                  <a:pt x="14172" y="202764"/>
                </a:lnTo>
                <a:lnTo>
                  <a:pt x="31110" y="164911"/>
                </a:lnTo>
                <a:lnTo>
                  <a:pt x="53928" y="129860"/>
                </a:lnTo>
                <a:lnTo>
                  <a:pt x="82106" y="98052"/>
                </a:lnTo>
                <a:lnTo>
                  <a:pt x="115127" y="69928"/>
                </a:lnTo>
                <a:lnTo>
                  <a:pt x="152475" y="45929"/>
                </a:lnTo>
                <a:lnTo>
                  <a:pt x="193630" y="26496"/>
                </a:lnTo>
                <a:lnTo>
                  <a:pt x="238077" y="12070"/>
                </a:lnTo>
                <a:lnTo>
                  <a:pt x="285296" y="3091"/>
                </a:lnTo>
                <a:lnTo>
                  <a:pt x="334771" y="0"/>
                </a:lnTo>
                <a:lnTo>
                  <a:pt x="384247" y="3091"/>
                </a:lnTo>
                <a:lnTo>
                  <a:pt x="431466" y="12070"/>
                </a:lnTo>
                <a:lnTo>
                  <a:pt x="475913" y="26496"/>
                </a:lnTo>
                <a:lnTo>
                  <a:pt x="517068" y="45929"/>
                </a:lnTo>
                <a:lnTo>
                  <a:pt x="554416" y="69928"/>
                </a:lnTo>
                <a:lnTo>
                  <a:pt x="587437" y="98052"/>
                </a:lnTo>
                <a:lnTo>
                  <a:pt x="615615" y="129860"/>
                </a:lnTo>
                <a:lnTo>
                  <a:pt x="638433" y="164911"/>
                </a:lnTo>
                <a:lnTo>
                  <a:pt x="655371" y="202764"/>
                </a:lnTo>
                <a:lnTo>
                  <a:pt x="665914" y="242979"/>
                </a:lnTo>
                <a:lnTo>
                  <a:pt x="669543" y="285115"/>
                </a:lnTo>
                <a:lnTo>
                  <a:pt x="665914" y="327250"/>
                </a:lnTo>
                <a:lnTo>
                  <a:pt x="655371" y="367465"/>
                </a:lnTo>
                <a:lnTo>
                  <a:pt x="638433" y="405318"/>
                </a:lnTo>
                <a:lnTo>
                  <a:pt x="615615" y="440369"/>
                </a:lnTo>
                <a:lnTo>
                  <a:pt x="587437" y="472177"/>
                </a:lnTo>
                <a:lnTo>
                  <a:pt x="554416" y="500301"/>
                </a:lnTo>
                <a:lnTo>
                  <a:pt x="517068" y="524300"/>
                </a:lnTo>
                <a:lnTo>
                  <a:pt x="475913" y="543733"/>
                </a:lnTo>
                <a:lnTo>
                  <a:pt x="431466" y="558159"/>
                </a:lnTo>
                <a:lnTo>
                  <a:pt x="384247" y="567138"/>
                </a:lnTo>
                <a:lnTo>
                  <a:pt x="334771" y="570230"/>
                </a:lnTo>
                <a:lnTo>
                  <a:pt x="285296" y="567138"/>
                </a:lnTo>
                <a:lnTo>
                  <a:pt x="238077" y="558159"/>
                </a:lnTo>
                <a:lnTo>
                  <a:pt x="193630" y="543733"/>
                </a:lnTo>
                <a:lnTo>
                  <a:pt x="152475" y="524300"/>
                </a:lnTo>
                <a:lnTo>
                  <a:pt x="115127" y="500301"/>
                </a:lnTo>
                <a:lnTo>
                  <a:pt x="82106" y="472177"/>
                </a:lnTo>
                <a:lnTo>
                  <a:pt x="53928" y="440369"/>
                </a:lnTo>
                <a:lnTo>
                  <a:pt x="31110" y="405318"/>
                </a:lnTo>
                <a:lnTo>
                  <a:pt x="14172" y="367465"/>
                </a:lnTo>
                <a:lnTo>
                  <a:pt x="3629" y="327250"/>
                </a:lnTo>
                <a:lnTo>
                  <a:pt x="0" y="285115"/>
                </a:lnTo>
                <a:close/>
              </a:path>
            </a:pathLst>
          </a:custGeom>
          <a:ln w="12700">
            <a:solidFill>
              <a:srgbClr val="FFFF00"/>
            </a:solidFill>
          </a:ln>
        </p:spPr>
        <p:txBody>
          <a:bodyPr wrap="square" lIns="0" tIns="0" rIns="0" bIns="0" rtlCol="0"/>
          <a:lstStyle/>
          <a:p>
            <a:endParaRPr/>
          </a:p>
        </p:txBody>
      </p:sp>
      <p:sp>
        <p:nvSpPr>
          <p:cNvPr id="14" name="object 14"/>
          <p:cNvSpPr txBox="1"/>
          <p:nvPr/>
        </p:nvSpPr>
        <p:spPr>
          <a:xfrm>
            <a:off x="4700142" y="2787650"/>
            <a:ext cx="560705" cy="225425"/>
          </a:xfrm>
          <a:prstGeom prst="rect">
            <a:avLst/>
          </a:prstGeom>
        </p:spPr>
        <p:txBody>
          <a:bodyPr vert="horz" wrap="square" lIns="0" tIns="0" rIns="0" bIns="0" rtlCol="0">
            <a:spAutoFit/>
          </a:bodyPr>
          <a:lstStyle/>
          <a:p>
            <a:pPr marL="12700">
              <a:lnSpc>
                <a:spcPct val="100000"/>
              </a:lnSpc>
            </a:pPr>
            <a:r>
              <a:rPr sz="1400" b="1" spc="-5" dirty="0">
                <a:latin typeface="Times New Roman"/>
                <a:cs typeface="Times New Roman"/>
              </a:rPr>
              <a:t>Plant</a:t>
            </a:r>
            <a:r>
              <a:rPr sz="1400" b="1" spc="-114" dirty="0">
                <a:latin typeface="Times New Roman"/>
                <a:cs typeface="Times New Roman"/>
              </a:rPr>
              <a:t> </a:t>
            </a:r>
            <a:r>
              <a:rPr sz="1400" b="1" dirty="0">
                <a:latin typeface="Times New Roman"/>
                <a:cs typeface="Times New Roman"/>
              </a:rPr>
              <a:t>1</a:t>
            </a:r>
            <a:endParaRPr sz="1400">
              <a:latin typeface="Times New Roman"/>
              <a:cs typeface="Times New Roman"/>
            </a:endParaRPr>
          </a:p>
        </p:txBody>
      </p:sp>
      <p:sp>
        <p:nvSpPr>
          <p:cNvPr id="15" name="object 15"/>
          <p:cNvSpPr/>
          <p:nvPr/>
        </p:nvSpPr>
        <p:spPr>
          <a:xfrm>
            <a:off x="5657469" y="2623057"/>
            <a:ext cx="669543" cy="570229"/>
          </a:xfrm>
          <a:prstGeom prst="rect">
            <a:avLst/>
          </a:prstGeom>
          <a:blipFill>
            <a:blip r:embed="rId5" cstate="print"/>
            <a:stretch>
              <a:fillRect/>
            </a:stretch>
          </a:blipFill>
        </p:spPr>
        <p:txBody>
          <a:bodyPr wrap="square" lIns="0" tIns="0" rIns="0" bIns="0" rtlCol="0"/>
          <a:lstStyle/>
          <a:p>
            <a:endParaRPr/>
          </a:p>
        </p:txBody>
      </p:sp>
      <p:sp>
        <p:nvSpPr>
          <p:cNvPr id="16" name="object 16"/>
          <p:cNvSpPr/>
          <p:nvPr/>
        </p:nvSpPr>
        <p:spPr>
          <a:xfrm>
            <a:off x="5657469" y="2623057"/>
            <a:ext cx="669925" cy="570230"/>
          </a:xfrm>
          <a:custGeom>
            <a:avLst/>
            <a:gdLst/>
            <a:ahLst/>
            <a:cxnLst/>
            <a:rect l="l" t="t" r="r" b="b"/>
            <a:pathLst>
              <a:path w="669925" h="570230">
                <a:moveTo>
                  <a:pt x="0" y="285114"/>
                </a:moveTo>
                <a:lnTo>
                  <a:pt x="3629" y="242979"/>
                </a:lnTo>
                <a:lnTo>
                  <a:pt x="14172" y="202764"/>
                </a:lnTo>
                <a:lnTo>
                  <a:pt x="31110" y="164911"/>
                </a:lnTo>
                <a:lnTo>
                  <a:pt x="53928" y="129860"/>
                </a:lnTo>
                <a:lnTo>
                  <a:pt x="82106" y="98052"/>
                </a:lnTo>
                <a:lnTo>
                  <a:pt x="115127" y="69928"/>
                </a:lnTo>
                <a:lnTo>
                  <a:pt x="152475" y="45929"/>
                </a:lnTo>
                <a:lnTo>
                  <a:pt x="193630" y="26496"/>
                </a:lnTo>
                <a:lnTo>
                  <a:pt x="238077" y="12070"/>
                </a:lnTo>
                <a:lnTo>
                  <a:pt x="285296" y="3091"/>
                </a:lnTo>
                <a:lnTo>
                  <a:pt x="334771" y="0"/>
                </a:lnTo>
                <a:lnTo>
                  <a:pt x="384247" y="3091"/>
                </a:lnTo>
                <a:lnTo>
                  <a:pt x="431466" y="12070"/>
                </a:lnTo>
                <a:lnTo>
                  <a:pt x="475913" y="26496"/>
                </a:lnTo>
                <a:lnTo>
                  <a:pt x="517068" y="45929"/>
                </a:lnTo>
                <a:lnTo>
                  <a:pt x="554416" y="69928"/>
                </a:lnTo>
                <a:lnTo>
                  <a:pt x="587437" y="98052"/>
                </a:lnTo>
                <a:lnTo>
                  <a:pt x="615615" y="129860"/>
                </a:lnTo>
                <a:lnTo>
                  <a:pt x="638433" y="164911"/>
                </a:lnTo>
                <a:lnTo>
                  <a:pt x="655371" y="202764"/>
                </a:lnTo>
                <a:lnTo>
                  <a:pt x="665914" y="242979"/>
                </a:lnTo>
                <a:lnTo>
                  <a:pt x="669543" y="285114"/>
                </a:lnTo>
                <a:lnTo>
                  <a:pt x="665914" y="327250"/>
                </a:lnTo>
                <a:lnTo>
                  <a:pt x="655371" y="367465"/>
                </a:lnTo>
                <a:lnTo>
                  <a:pt x="638433" y="405318"/>
                </a:lnTo>
                <a:lnTo>
                  <a:pt x="615615" y="440369"/>
                </a:lnTo>
                <a:lnTo>
                  <a:pt x="587437" y="472177"/>
                </a:lnTo>
                <a:lnTo>
                  <a:pt x="554416" y="500301"/>
                </a:lnTo>
                <a:lnTo>
                  <a:pt x="517068" y="524300"/>
                </a:lnTo>
                <a:lnTo>
                  <a:pt x="475913" y="543733"/>
                </a:lnTo>
                <a:lnTo>
                  <a:pt x="431466" y="558159"/>
                </a:lnTo>
                <a:lnTo>
                  <a:pt x="384247" y="567138"/>
                </a:lnTo>
                <a:lnTo>
                  <a:pt x="334771" y="570229"/>
                </a:lnTo>
                <a:lnTo>
                  <a:pt x="285296" y="567138"/>
                </a:lnTo>
                <a:lnTo>
                  <a:pt x="238077" y="558159"/>
                </a:lnTo>
                <a:lnTo>
                  <a:pt x="193630" y="543733"/>
                </a:lnTo>
                <a:lnTo>
                  <a:pt x="152475" y="524300"/>
                </a:lnTo>
                <a:lnTo>
                  <a:pt x="115127" y="500301"/>
                </a:lnTo>
                <a:lnTo>
                  <a:pt x="82106" y="472177"/>
                </a:lnTo>
                <a:lnTo>
                  <a:pt x="53928" y="440369"/>
                </a:lnTo>
                <a:lnTo>
                  <a:pt x="31110" y="405318"/>
                </a:lnTo>
                <a:lnTo>
                  <a:pt x="14172" y="367465"/>
                </a:lnTo>
                <a:lnTo>
                  <a:pt x="3629" y="327250"/>
                </a:lnTo>
                <a:lnTo>
                  <a:pt x="0" y="285114"/>
                </a:lnTo>
                <a:close/>
              </a:path>
            </a:pathLst>
          </a:custGeom>
          <a:ln w="12700">
            <a:solidFill>
              <a:srgbClr val="FFFF00"/>
            </a:solidFill>
          </a:ln>
        </p:spPr>
        <p:txBody>
          <a:bodyPr wrap="square" lIns="0" tIns="0" rIns="0" bIns="0" rtlCol="0"/>
          <a:lstStyle/>
          <a:p>
            <a:endParaRPr/>
          </a:p>
        </p:txBody>
      </p:sp>
      <p:sp>
        <p:nvSpPr>
          <p:cNvPr id="17" name="object 17"/>
          <p:cNvSpPr txBox="1"/>
          <p:nvPr/>
        </p:nvSpPr>
        <p:spPr>
          <a:xfrm>
            <a:off x="5712967" y="2796413"/>
            <a:ext cx="560705" cy="225425"/>
          </a:xfrm>
          <a:prstGeom prst="rect">
            <a:avLst/>
          </a:prstGeom>
        </p:spPr>
        <p:txBody>
          <a:bodyPr vert="horz" wrap="square" lIns="0" tIns="0" rIns="0" bIns="0" rtlCol="0">
            <a:spAutoFit/>
          </a:bodyPr>
          <a:lstStyle/>
          <a:p>
            <a:pPr marL="12700">
              <a:lnSpc>
                <a:spcPct val="100000"/>
              </a:lnSpc>
            </a:pPr>
            <a:r>
              <a:rPr sz="1400" b="1" spc="-5" dirty="0">
                <a:latin typeface="Times New Roman"/>
                <a:cs typeface="Times New Roman"/>
              </a:rPr>
              <a:t>Plant</a:t>
            </a:r>
            <a:r>
              <a:rPr sz="1400" b="1" spc="-114" dirty="0">
                <a:latin typeface="Times New Roman"/>
                <a:cs typeface="Times New Roman"/>
              </a:rPr>
              <a:t> </a:t>
            </a:r>
            <a:r>
              <a:rPr sz="1400" b="1" dirty="0">
                <a:latin typeface="Times New Roman"/>
                <a:cs typeface="Times New Roman"/>
              </a:rPr>
              <a:t>2</a:t>
            </a:r>
            <a:endParaRPr sz="1400">
              <a:latin typeface="Times New Roman"/>
              <a:cs typeface="Times New Roman"/>
            </a:endParaRPr>
          </a:p>
        </p:txBody>
      </p:sp>
      <p:sp>
        <p:nvSpPr>
          <p:cNvPr id="18" name="object 18"/>
          <p:cNvSpPr/>
          <p:nvPr/>
        </p:nvSpPr>
        <p:spPr>
          <a:xfrm>
            <a:off x="4979415" y="2151507"/>
            <a:ext cx="351155" cy="440690"/>
          </a:xfrm>
          <a:custGeom>
            <a:avLst/>
            <a:gdLst/>
            <a:ahLst/>
            <a:cxnLst/>
            <a:rect l="l" t="t" r="r" b="b"/>
            <a:pathLst>
              <a:path w="351154" h="440689">
                <a:moveTo>
                  <a:pt x="27559" y="304672"/>
                </a:moveTo>
                <a:lnTo>
                  <a:pt x="0" y="440308"/>
                </a:lnTo>
                <a:lnTo>
                  <a:pt x="125095" y="381000"/>
                </a:lnTo>
                <a:lnTo>
                  <a:pt x="113410" y="371855"/>
                </a:lnTo>
                <a:lnTo>
                  <a:pt x="79883" y="371855"/>
                </a:lnTo>
                <a:lnTo>
                  <a:pt x="47371" y="346455"/>
                </a:lnTo>
                <a:lnTo>
                  <a:pt x="60125" y="330158"/>
                </a:lnTo>
                <a:lnTo>
                  <a:pt x="27559" y="304672"/>
                </a:lnTo>
                <a:close/>
              </a:path>
              <a:path w="351154" h="440689">
                <a:moveTo>
                  <a:pt x="60125" y="330158"/>
                </a:moveTo>
                <a:lnTo>
                  <a:pt x="47371" y="346455"/>
                </a:lnTo>
                <a:lnTo>
                  <a:pt x="79883" y="371855"/>
                </a:lnTo>
                <a:lnTo>
                  <a:pt x="92617" y="355584"/>
                </a:lnTo>
                <a:lnTo>
                  <a:pt x="60125" y="330158"/>
                </a:lnTo>
                <a:close/>
              </a:path>
              <a:path w="351154" h="440689">
                <a:moveTo>
                  <a:pt x="92617" y="355584"/>
                </a:moveTo>
                <a:lnTo>
                  <a:pt x="79883" y="371855"/>
                </a:lnTo>
                <a:lnTo>
                  <a:pt x="113410" y="371855"/>
                </a:lnTo>
                <a:lnTo>
                  <a:pt x="92617" y="355584"/>
                </a:lnTo>
                <a:close/>
              </a:path>
              <a:path w="351154" h="440689">
                <a:moveTo>
                  <a:pt x="318516" y="0"/>
                </a:moveTo>
                <a:lnTo>
                  <a:pt x="60125" y="330158"/>
                </a:lnTo>
                <a:lnTo>
                  <a:pt x="92617" y="355584"/>
                </a:lnTo>
                <a:lnTo>
                  <a:pt x="351028" y="25400"/>
                </a:lnTo>
                <a:lnTo>
                  <a:pt x="318516" y="0"/>
                </a:lnTo>
                <a:close/>
              </a:path>
            </a:pathLst>
          </a:custGeom>
          <a:solidFill>
            <a:srgbClr val="000080"/>
          </a:solidFill>
        </p:spPr>
        <p:txBody>
          <a:bodyPr wrap="square" lIns="0" tIns="0" rIns="0" bIns="0" rtlCol="0"/>
          <a:lstStyle/>
          <a:p>
            <a:endParaRPr/>
          </a:p>
        </p:txBody>
      </p:sp>
      <p:sp>
        <p:nvSpPr>
          <p:cNvPr id="19" name="object 19"/>
          <p:cNvSpPr/>
          <p:nvPr/>
        </p:nvSpPr>
        <p:spPr>
          <a:xfrm>
            <a:off x="5620258" y="2138045"/>
            <a:ext cx="351155" cy="440690"/>
          </a:xfrm>
          <a:custGeom>
            <a:avLst/>
            <a:gdLst/>
            <a:ahLst/>
            <a:cxnLst/>
            <a:rect l="l" t="t" r="r" b="b"/>
            <a:pathLst>
              <a:path w="351154" h="440689">
                <a:moveTo>
                  <a:pt x="258410" y="355711"/>
                </a:moveTo>
                <a:lnTo>
                  <a:pt x="225932" y="381126"/>
                </a:lnTo>
                <a:lnTo>
                  <a:pt x="351027" y="440435"/>
                </a:lnTo>
                <a:lnTo>
                  <a:pt x="337119" y="371982"/>
                </a:lnTo>
                <a:lnTo>
                  <a:pt x="271144" y="371982"/>
                </a:lnTo>
                <a:lnTo>
                  <a:pt x="258410" y="355711"/>
                </a:lnTo>
                <a:close/>
              </a:path>
              <a:path w="351154" h="440689">
                <a:moveTo>
                  <a:pt x="290963" y="330237"/>
                </a:moveTo>
                <a:lnTo>
                  <a:pt x="258410" y="355711"/>
                </a:lnTo>
                <a:lnTo>
                  <a:pt x="271144" y="371982"/>
                </a:lnTo>
                <a:lnTo>
                  <a:pt x="303656" y="346455"/>
                </a:lnTo>
                <a:lnTo>
                  <a:pt x="290963" y="330237"/>
                </a:lnTo>
                <a:close/>
              </a:path>
              <a:path w="351154" h="440689">
                <a:moveTo>
                  <a:pt x="323468" y="304800"/>
                </a:moveTo>
                <a:lnTo>
                  <a:pt x="290963" y="330237"/>
                </a:lnTo>
                <a:lnTo>
                  <a:pt x="303656" y="346455"/>
                </a:lnTo>
                <a:lnTo>
                  <a:pt x="271144" y="371982"/>
                </a:lnTo>
                <a:lnTo>
                  <a:pt x="337119" y="371982"/>
                </a:lnTo>
                <a:lnTo>
                  <a:pt x="323468" y="304800"/>
                </a:lnTo>
                <a:close/>
              </a:path>
              <a:path w="351154" h="440689">
                <a:moveTo>
                  <a:pt x="32512" y="0"/>
                </a:moveTo>
                <a:lnTo>
                  <a:pt x="0" y="25526"/>
                </a:lnTo>
                <a:lnTo>
                  <a:pt x="258410" y="355711"/>
                </a:lnTo>
                <a:lnTo>
                  <a:pt x="290963" y="330237"/>
                </a:lnTo>
                <a:lnTo>
                  <a:pt x="32512" y="0"/>
                </a:lnTo>
                <a:close/>
              </a:path>
            </a:pathLst>
          </a:custGeom>
          <a:solidFill>
            <a:srgbClr val="000080"/>
          </a:solidFill>
        </p:spPr>
        <p:txBody>
          <a:bodyPr wrap="square" lIns="0" tIns="0" rIns="0" bIns="0" rtlCol="0"/>
          <a:lstStyle/>
          <a:p>
            <a:endParaRPr/>
          </a:p>
        </p:txBody>
      </p:sp>
      <p:sp>
        <p:nvSpPr>
          <p:cNvPr id="20" name="object 20"/>
          <p:cNvSpPr/>
          <p:nvPr/>
        </p:nvSpPr>
        <p:spPr>
          <a:xfrm>
            <a:off x="6739001" y="1371600"/>
            <a:ext cx="2286000" cy="2133600"/>
          </a:xfrm>
          <a:custGeom>
            <a:avLst/>
            <a:gdLst/>
            <a:ahLst/>
            <a:cxnLst/>
            <a:rect l="l" t="t" r="r" b="b"/>
            <a:pathLst>
              <a:path w="2286000" h="2133600">
                <a:moveTo>
                  <a:pt x="1143000" y="0"/>
                </a:moveTo>
                <a:lnTo>
                  <a:pt x="1093414" y="985"/>
                </a:lnTo>
                <a:lnTo>
                  <a:pt x="1044369" y="3915"/>
                </a:lnTo>
                <a:lnTo>
                  <a:pt x="995907" y="8750"/>
                </a:lnTo>
                <a:lnTo>
                  <a:pt x="948070" y="15450"/>
                </a:lnTo>
                <a:lnTo>
                  <a:pt x="900902" y="23974"/>
                </a:lnTo>
                <a:lnTo>
                  <a:pt x="854446" y="34283"/>
                </a:lnTo>
                <a:lnTo>
                  <a:pt x="808743" y="46336"/>
                </a:lnTo>
                <a:lnTo>
                  <a:pt x="763838" y="60093"/>
                </a:lnTo>
                <a:lnTo>
                  <a:pt x="719773" y="75515"/>
                </a:lnTo>
                <a:lnTo>
                  <a:pt x="676591" y="92561"/>
                </a:lnTo>
                <a:lnTo>
                  <a:pt x="634334" y="111192"/>
                </a:lnTo>
                <a:lnTo>
                  <a:pt x="593047" y="131366"/>
                </a:lnTo>
                <a:lnTo>
                  <a:pt x="552770" y="153045"/>
                </a:lnTo>
                <a:lnTo>
                  <a:pt x="513549" y="176189"/>
                </a:lnTo>
                <a:lnTo>
                  <a:pt x="475424" y="200756"/>
                </a:lnTo>
                <a:lnTo>
                  <a:pt x="438440" y="226708"/>
                </a:lnTo>
                <a:lnTo>
                  <a:pt x="402638" y="254003"/>
                </a:lnTo>
                <a:lnTo>
                  <a:pt x="368062" y="282603"/>
                </a:lnTo>
                <a:lnTo>
                  <a:pt x="334756" y="312467"/>
                </a:lnTo>
                <a:lnTo>
                  <a:pt x="302760" y="343555"/>
                </a:lnTo>
                <a:lnTo>
                  <a:pt x="272120" y="375827"/>
                </a:lnTo>
                <a:lnTo>
                  <a:pt x="242876" y="409242"/>
                </a:lnTo>
                <a:lnTo>
                  <a:pt x="215073" y="443762"/>
                </a:lnTo>
                <a:lnTo>
                  <a:pt x="188753" y="479346"/>
                </a:lnTo>
                <a:lnTo>
                  <a:pt x="163958" y="515953"/>
                </a:lnTo>
                <a:lnTo>
                  <a:pt x="140733" y="553544"/>
                </a:lnTo>
                <a:lnTo>
                  <a:pt x="119119" y="592079"/>
                </a:lnTo>
                <a:lnTo>
                  <a:pt x="99160" y="631517"/>
                </a:lnTo>
                <a:lnTo>
                  <a:pt x="80898" y="671820"/>
                </a:lnTo>
                <a:lnTo>
                  <a:pt x="64377" y="712946"/>
                </a:lnTo>
                <a:lnTo>
                  <a:pt x="49638" y="754855"/>
                </a:lnTo>
                <a:lnTo>
                  <a:pt x="36726" y="797508"/>
                </a:lnTo>
                <a:lnTo>
                  <a:pt x="25683" y="840865"/>
                </a:lnTo>
                <a:lnTo>
                  <a:pt x="16551" y="884885"/>
                </a:lnTo>
                <a:lnTo>
                  <a:pt x="9374" y="929528"/>
                </a:lnTo>
                <a:lnTo>
                  <a:pt x="4195" y="974755"/>
                </a:lnTo>
                <a:lnTo>
                  <a:pt x="1055" y="1020526"/>
                </a:lnTo>
                <a:lnTo>
                  <a:pt x="0" y="1066800"/>
                </a:lnTo>
                <a:lnTo>
                  <a:pt x="1055" y="1113073"/>
                </a:lnTo>
                <a:lnTo>
                  <a:pt x="4195" y="1158844"/>
                </a:lnTo>
                <a:lnTo>
                  <a:pt x="9374" y="1204071"/>
                </a:lnTo>
                <a:lnTo>
                  <a:pt x="16551" y="1248714"/>
                </a:lnTo>
                <a:lnTo>
                  <a:pt x="25683" y="1292734"/>
                </a:lnTo>
                <a:lnTo>
                  <a:pt x="36726" y="1336091"/>
                </a:lnTo>
                <a:lnTo>
                  <a:pt x="49638" y="1378744"/>
                </a:lnTo>
                <a:lnTo>
                  <a:pt x="64377" y="1420653"/>
                </a:lnTo>
                <a:lnTo>
                  <a:pt x="80898" y="1461779"/>
                </a:lnTo>
                <a:lnTo>
                  <a:pt x="99160" y="1502082"/>
                </a:lnTo>
                <a:lnTo>
                  <a:pt x="119119" y="1541520"/>
                </a:lnTo>
                <a:lnTo>
                  <a:pt x="140733" y="1580055"/>
                </a:lnTo>
                <a:lnTo>
                  <a:pt x="163958" y="1617646"/>
                </a:lnTo>
                <a:lnTo>
                  <a:pt x="188753" y="1654253"/>
                </a:lnTo>
                <a:lnTo>
                  <a:pt x="215073" y="1689837"/>
                </a:lnTo>
                <a:lnTo>
                  <a:pt x="242876" y="1724357"/>
                </a:lnTo>
                <a:lnTo>
                  <a:pt x="272120" y="1757772"/>
                </a:lnTo>
                <a:lnTo>
                  <a:pt x="302760" y="1790044"/>
                </a:lnTo>
                <a:lnTo>
                  <a:pt x="334756" y="1821132"/>
                </a:lnTo>
                <a:lnTo>
                  <a:pt x="368062" y="1850996"/>
                </a:lnTo>
                <a:lnTo>
                  <a:pt x="402638" y="1879596"/>
                </a:lnTo>
                <a:lnTo>
                  <a:pt x="438440" y="1906891"/>
                </a:lnTo>
                <a:lnTo>
                  <a:pt x="475424" y="1932843"/>
                </a:lnTo>
                <a:lnTo>
                  <a:pt x="513549" y="1957410"/>
                </a:lnTo>
                <a:lnTo>
                  <a:pt x="552770" y="1980554"/>
                </a:lnTo>
                <a:lnTo>
                  <a:pt x="593047" y="2002233"/>
                </a:lnTo>
                <a:lnTo>
                  <a:pt x="634334" y="2022407"/>
                </a:lnTo>
                <a:lnTo>
                  <a:pt x="676591" y="2041038"/>
                </a:lnTo>
                <a:lnTo>
                  <a:pt x="719773" y="2058084"/>
                </a:lnTo>
                <a:lnTo>
                  <a:pt x="763838" y="2073506"/>
                </a:lnTo>
                <a:lnTo>
                  <a:pt x="808743" y="2087263"/>
                </a:lnTo>
                <a:lnTo>
                  <a:pt x="854446" y="2099316"/>
                </a:lnTo>
                <a:lnTo>
                  <a:pt x="900902" y="2109625"/>
                </a:lnTo>
                <a:lnTo>
                  <a:pt x="948070" y="2118149"/>
                </a:lnTo>
                <a:lnTo>
                  <a:pt x="995907" y="2124849"/>
                </a:lnTo>
                <a:lnTo>
                  <a:pt x="1044369" y="2129684"/>
                </a:lnTo>
                <a:lnTo>
                  <a:pt x="1093414" y="2132614"/>
                </a:lnTo>
                <a:lnTo>
                  <a:pt x="1143000" y="2133600"/>
                </a:lnTo>
                <a:lnTo>
                  <a:pt x="1192575" y="2132614"/>
                </a:lnTo>
                <a:lnTo>
                  <a:pt x="1241612" y="2129684"/>
                </a:lnTo>
                <a:lnTo>
                  <a:pt x="1290067" y="2124849"/>
                </a:lnTo>
                <a:lnTo>
                  <a:pt x="1337897" y="2118149"/>
                </a:lnTo>
                <a:lnTo>
                  <a:pt x="1385059" y="2109625"/>
                </a:lnTo>
                <a:lnTo>
                  <a:pt x="1431511" y="2099316"/>
                </a:lnTo>
                <a:lnTo>
                  <a:pt x="1477209" y="2087263"/>
                </a:lnTo>
                <a:lnTo>
                  <a:pt x="1522111" y="2073506"/>
                </a:lnTo>
                <a:lnTo>
                  <a:pt x="1566173" y="2058084"/>
                </a:lnTo>
                <a:lnTo>
                  <a:pt x="1609354" y="2041038"/>
                </a:lnTo>
                <a:lnTo>
                  <a:pt x="1651609" y="2022407"/>
                </a:lnTo>
                <a:lnTo>
                  <a:pt x="1692896" y="2002233"/>
                </a:lnTo>
                <a:lnTo>
                  <a:pt x="1733172" y="1980554"/>
                </a:lnTo>
                <a:lnTo>
                  <a:pt x="1772394" y="1957410"/>
                </a:lnTo>
                <a:lnTo>
                  <a:pt x="1810520" y="1932843"/>
                </a:lnTo>
                <a:lnTo>
                  <a:pt x="1847506" y="1906891"/>
                </a:lnTo>
                <a:lnTo>
                  <a:pt x="1883309" y="1879596"/>
                </a:lnTo>
                <a:lnTo>
                  <a:pt x="1917887" y="1850996"/>
                </a:lnTo>
                <a:lnTo>
                  <a:pt x="1951196" y="1821132"/>
                </a:lnTo>
                <a:lnTo>
                  <a:pt x="1983194" y="1790044"/>
                </a:lnTo>
                <a:lnTo>
                  <a:pt x="2013837" y="1757772"/>
                </a:lnTo>
                <a:lnTo>
                  <a:pt x="2043084" y="1724357"/>
                </a:lnTo>
                <a:lnTo>
                  <a:pt x="2070890" y="1689837"/>
                </a:lnTo>
                <a:lnTo>
                  <a:pt x="2097214" y="1654253"/>
                </a:lnTo>
                <a:lnTo>
                  <a:pt x="2122011" y="1617646"/>
                </a:lnTo>
                <a:lnTo>
                  <a:pt x="2145240" y="1580055"/>
                </a:lnTo>
                <a:lnTo>
                  <a:pt x="2166857" y="1541520"/>
                </a:lnTo>
                <a:lnTo>
                  <a:pt x="2186820" y="1502082"/>
                </a:lnTo>
                <a:lnTo>
                  <a:pt x="2205084" y="1461779"/>
                </a:lnTo>
                <a:lnTo>
                  <a:pt x="2221609" y="1420653"/>
                </a:lnTo>
                <a:lnTo>
                  <a:pt x="2236350" y="1378744"/>
                </a:lnTo>
                <a:lnTo>
                  <a:pt x="2249265" y="1336091"/>
                </a:lnTo>
                <a:lnTo>
                  <a:pt x="2260311" y="1292734"/>
                </a:lnTo>
                <a:lnTo>
                  <a:pt x="2269444" y="1248714"/>
                </a:lnTo>
                <a:lnTo>
                  <a:pt x="2276623" y="1204071"/>
                </a:lnTo>
                <a:lnTo>
                  <a:pt x="2281803" y="1158844"/>
                </a:lnTo>
                <a:lnTo>
                  <a:pt x="2284943" y="1113073"/>
                </a:lnTo>
                <a:lnTo>
                  <a:pt x="2286000" y="1066800"/>
                </a:lnTo>
                <a:lnTo>
                  <a:pt x="2284943" y="1020526"/>
                </a:lnTo>
                <a:lnTo>
                  <a:pt x="2281803" y="974755"/>
                </a:lnTo>
                <a:lnTo>
                  <a:pt x="2276623" y="929528"/>
                </a:lnTo>
                <a:lnTo>
                  <a:pt x="2269444" y="884885"/>
                </a:lnTo>
                <a:lnTo>
                  <a:pt x="2260311" y="840865"/>
                </a:lnTo>
                <a:lnTo>
                  <a:pt x="2249265" y="797508"/>
                </a:lnTo>
                <a:lnTo>
                  <a:pt x="2236350" y="754855"/>
                </a:lnTo>
                <a:lnTo>
                  <a:pt x="2221609" y="712946"/>
                </a:lnTo>
                <a:lnTo>
                  <a:pt x="2205084" y="671820"/>
                </a:lnTo>
                <a:lnTo>
                  <a:pt x="2186820" y="631517"/>
                </a:lnTo>
                <a:lnTo>
                  <a:pt x="2166857" y="592079"/>
                </a:lnTo>
                <a:lnTo>
                  <a:pt x="2145240" y="553544"/>
                </a:lnTo>
                <a:lnTo>
                  <a:pt x="2122011" y="515953"/>
                </a:lnTo>
                <a:lnTo>
                  <a:pt x="2097214" y="479346"/>
                </a:lnTo>
                <a:lnTo>
                  <a:pt x="2070890" y="443762"/>
                </a:lnTo>
                <a:lnTo>
                  <a:pt x="2043084" y="409242"/>
                </a:lnTo>
                <a:lnTo>
                  <a:pt x="2013837" y="375827"/>
                </a:lnTo>
                <a:lnTo>
                  <a:pt x="1983194" y="343555"/>
                </a:lnTo>
                <a:lnTo>
                  <a:pt x="1951196" y="312467"/>
                </a:lnTo>
                <a:lnTo>
                  <a:pt x="1917887" y="282603"/>
                </a:lnTo>
                <a:lnTo>
                  <a:pt x="1883309" y="254003"/>
                </a:lnTo>
                <a:lnTo>
                  <a:pt x="1847506" y="226708"/>
                </a:lnTo>
                <a:lnTo>
                  <a:pt x="1810520" y="200756"/>
                </a:lnTo>
                <a:lnTo>
                  <a:pt x="1772394" y="176189"/>
                </a:lnTo>
                <a:lnTo>
                  <a:pt x="1733172" y="153045"/>
                </a:lnTo>
                <a:lnTo>
                  <a:pt x="1692896" y="131366"/>
                </a:lnTo>
                <a:lnTo>
                  <a:pt x="1651609" y="111192"/>
                </a:lnTo>
                <a:lnTo>
                  <a:pt x="1609354" y="92561"/>
                </a:lnTo>
                <a:lnTo>
                  <a:pt x="1566173" y="75515"/>
                </a:lnTo>
                <a:lnTo>
                  <a:pt x="1522111" y="60093"/>
                </a:lnTo>
                <a:lnTo>
                  <a:pt x="1477209" y="46336"/>
                </a:lnTo>
                <a:lnTo>
                  <a:pt x="1431511" y="34283"/>
                </a:lnTo>
                <a:lnTo>
                  <a:pt x="1385059" y="23974"/>
                </a:lnTo>
                <a:lnTo>
                  <a:pt x="1337897" y="15450"/>
                </a:lnTo>
                <a:lnTo>
                  <a:pt x="1290067" y="8750"/>
                </a:lnTo>
                <a:lnTo>
                  <a:pt x="1241612" y="3915"/>
                </a:lnTo>
                <a:lnTo>
                  <a:pt x="1192575" y="985"/>
                </a:lnTo>
                <a:lnTo>
                  <a:pt x="1143000" y="0"/>
                </a:lnTo>
                <a:close/>
              </a:path>
            </a:pathLst>
          </a:custGeom>
          <a:solidFill>
            <a:srgbClr val="AED6FF"/>
          </a:solidFill>
        </p:spPr>
        <p:txBody>
          <a:bodyPr wrap="square" lIns="0" tIns="0" rIns="0" bIns="0" rtlCol="0"/>
          <a:lstStyle/>
          <a:p>
            <a:endParaRPr/>
          </a:p>
        </p:txBody>
      </p:sp>
      <p:sp>
        <p:nvSpPr>
          <p:cNvPr id="21" name="object 21"/>
          <p:cNvSpPr/>
          <p:nvPr/>
        </p:nvSpPr>
        <p:spPr>
          <a:xfrm>
            <a:off x="6739001" y="1371600"/>
            <a:ext cx="2286000" cy="2133600"/>
          </a:xfrm>
          <a:custGeom>
            <a:avLst/>
            <a:gdLst/>
            <a:ahLst/>
            <a:cxnLst/>
            <a:rect l="l" t="t" r="r" b="b"/>
            <a:pathLst>
              <a:path w="2286000" h="2133600">
                <a:moveTo>
                  <a:pt x="0" y="1066800"/>
                </a:moveTo>
                <a:lnTo>
                  <a:pt x="1055" y="1020526"/>
                </a:lnTo>
                <a:lnTo>
                  <a:pt x="4195" y="974755"/>
                </a:lnTo>
                <a:lnTo>
                  <a:pt x="9374" y="929528"/>
                </a:lnTo>
                <a:lnTo>
                  <a:pt x="16551" y="884885"/>
                </a:lnTo>
                <a:lnTo>
                  <a:pt x="25683" y="840865"/>
                </a:lnTo>
                <a:lnTo>
                  <a:pt x="36726" y="797508"/>
                </a:lnTo>
                <a:lnTo>
                  <a:pt x="49638" y="754855"/>
                </a:lnTo>
                <a:lnTo>
                  <a:pt x="64377" y="712946"/>
                </a:lnTo>
                <a:lnTo>
                  <a:pt x="80898" y="671820"/>
                </a:lnTo>
                <a:lnTo>
                  <a:pt x="99160" y="631517"/>
                </a:lnTo>
                <a:lnTo>
                  <a:pt x="119119" y="592079"/>
                </a:lnTo>
                <a:lnTo>
                  <a:pt x="140733" y="553544"/>
                </a:lnTo>
                <a:lnTo>
                  <a:pt x="163958" y="515953"/>
                </a:lnTo>
                <a:lnTo>
                  <a:pt x="188753" y="479346"/>
                </a:lnTo>
                <a:lnTo>
                  <a:pt x="215073" y="443762"/>
                </a:lnTo>
                <a:lnTo>
                  <a:pt x="242876" y="409242"/>
                </a:lnTo>
                <a:lnTo>
                  <a:pt x="272120" y="375827"/>
                </a:lnTo>
                <a:lnTo>
                  <a:pt x="302760" y="343555"/>
                </a:lnTo>
                <a:lnTo>
                  <a:pt x="334756" y="312467"/>
                </a:lnTo>
                <a:lnTo>
                  <a:pt x="368062" y="282603"/>
                </a:lnTo>
                <a:lnTo>
                  <a:pt x="402638" y="254003"/>
                </a:lnTo>
                <a:lnTo>
                  <a:pt x="438440" y="226708"/>
                </a:lnTo>
                <a:lnTo>
                  <a:pt x="475424" y="200756"/>
                </a:lnTo>
                <a:lnTo>
                  <a:pt x="513549" y="176189"/>
                </a:lnTo>
                <a:lnTo>
                  <a:pt x="552770" y="153045"/>
                </a:lnTo>
                <a:lnTo>
                  <a:pt x="593047" y="131366"/>
                </a:lnTo>
                <a:lnTo>
                  <a:pt x="634334" y="111192"/>
                </a:lnTo>
                <a:lnTo>
                  <a:pt x="676591" y="92561"/>
                </a:lnTo>
                <a:lnTo>
                  <a:pt x="719773" y="75515"/>
                </a:lnTo>
                <a:lnTo>
                  <a:pt x="763838" y="60093"/>
                </a:lnTo>
                <a:lnTo>
                  <a:pt x="808743" y="46336"/>
                </a:lnTo>
                <a:lnTo>
                  <a:pt x="854446" y="34283"/>
                </a:lnTo>
                <a:lnTo>
                  <a:pt x="900902" y="23974"/>
                </a:lnTo>
                <a:lnTo>
                  <a:pt x="948070" y="15450"/>
                </a:lnTo>
                <a:lnTo>
                  <a:pt x="995907" y="8750"/>
                </a:lnTo>
                <a:lnTo>
                  <a:pt x="1044369" y="3915"/>
                </a:lnTo>
                <a:lnTo>
                  <a:pt x="1093414" y="985"/>
                </a:lnTo>
                <a:lnTo>
                  <a:pt x="1143000" y="0"/>
                </a:lnTo>
                <a:lnTo>
                  <a:pt x="1192575" y="985"/>
                </a:lnTo>
                <a:lnTo>
                  <a:pt x="1241612" y="3915"/>
                </a:lnTo>
                <a:lnTo>
                  <a:pt x="1290067" y="8750"/>
                </a:lnTo>
                <a:lnTo>
                  <a:pt x="1337897" y="15450"/>
                </a:lnTo>
                <a:lnTo>
                  <a:pt x="1385059" y="23974"/>
                </a:lnTo>
                <a:lnTo>
                  <a:pt x="1431511" y="34283"/>
                </a:lnTo>
                <a:lnTo>
                  <a:pt x="1477209" y="46336"/>
                </a:lnTo>
                <a:lnTo>
                  <a:pt x="1522111" y="60093"/>
                </a:lnTo>
                <a:lnTo>
                  <a:pt x="1566173" y="75515"/>
                </a:lnTo>
                <a:lnTo>
                  <a:pt x="1609354" y="92561"/>
                </a:lnTo>
                <a:lnTo>
                  <a:pt x="1651609" y="111192"/>
                </a:lnTo>
                <a:lnTo>
                  <a:pt x="1692896" y="131366"/>
                </a:lnTo>
                <a:lnTo>
                  <a:pt x="1733172" y="153045"/>
                </a:lnTo>
                <a:lnTo>
                  <a:pt x="1772394" y="176189"/>
                </a:lnTo>
                <a:lnTo>
                  <a:pt x="1810520" y="200756"/>
                </a:lnTo>
                <a:lnTo>
                  <a:pt x="1847506" y="226708"/>
                </a:lnTo>
                <a:lnTo>
                  <a:pt x="1883309" y="254003"/>
                </a:lnTo>
                <a:lnTo>
                  <a:pt x="1917887" y="282603"/>
                </a:lnTo>
                <a:lnTo>
                  <a:pt x="1951196" y="312467"/>
                </a:lnTo>
                <a:lnTo>
                  <a:pt x="1983194" y="343555"/>
                </a:lnTo>
                <a:lnTo>
                  <a:pt x="2013837" y="375827"/>
                </a:lnTo>
                <a:lnTo>
                  <a:pt x="2043084" y="409242"/>
                </a:lnTo>
                <a:lnTo>
                  <a:pt x="2070890" y="443762"/>
                </a:lnTo>
                <a:lnTo>
                  <a:pt x="2097214" y="479346"/>
                </a:lnTo>
                <a:lnTo>
                  <a:pt x="2122011" y="515953"/>
                </a:lnTo>
                <a:lnTo>
                  <a:pt x="2145240" y="553544"/>
                </a:lnTo>
                <a:lnTo>
                  <a:pt x="2166857" y="592079"/>
                </a:lnTo>
                <a:lnTo>
                  <a:pt x="2186820" y="631517"/>
                </a:lnTo>
                <a:lnTo>
                  <a:pt x="2205084" y="671820"/>
                </a:lnTo>
                <a:lnTo>
                  <a:pt x="2221609" y="712946"/>
                </a:lnTo>
                <a:lnTo>
                  <a:pt x="2236350" y="754855"/>
                </a:lnTo>
                <a:lnTo>
                  <a:pt x="2249265" y="797508"/>
                </a:lnTo>
                <a:lnTo>
                  <a:pt x="2260311" y="840865"/>
                </a:lnTo>
                <a:lnTo>
                  <a:pt x="2269444" y="884885"/>
                </a:lnTo>
                <a:lnTo>
                  <a:pt x="2276623" y="929528"/>
                </a:lnTo>
                <a:lnTo>
                  <a:pt x="2281803" y="974755"/>
                </a:lnTo>
                <a:lnTo>
                  <a:pt x="2284943" y="1020526"/>
                </a:lnTo>
                <a:lnTo>
                  <a:pt x="2286000" y="1066800"/>
                </a:lnTo>
                <a:lnTo>
                  <a:pt x="2284943" y="1113073"/>
                </a:lnTo>
                <a:lnTo>
                  <a:pt x="2281803" y="1158844"/>
                </a:lnTo>
                <a:lnTo>
                  <a:pt x="2276623" y="1204071"/>
                </a:lnTo>
                <a:lnTo>
                  <a:pt x="2269444" y="1248714"/>
                </a:lnTo>
                <a:lnTo>
                  <a:pt x="2260311" y="1292734"/>
                </a:lnTo>
                <a:lnTo>
                  <a:pt x="2249265" y="1336091"/>
                </a:lnTo>
                <a:lnTo>
                  <a:pt x="2236350" y="1378744"/>
                </a:lnTo>
                <a:lnTo>
                  <a:pt x="2221609" y="1420653"/>
                </a:lnTo>
                <a:lnTo>
                  <a:pt x="2205084" y="1461779"/>
                </a:lnTo>
                <a:lnTo>
                  <a:pt x="2186820" y="1502082"/>
                </a:lnTo>
                <a:lnTo>
                  <a:pt x="2166857" y="1541520"/>
                </a:lnTo>
                <a:lnTo>
                  <a:pt x="2145240" y="1580055"/>
                </a:lnTo>
                <a:lnTo>
                  <a:pt x="2122011" y="1617646"/>
                </a:lnTo>
                <a:lnTo>
                  <a:pt x="2097214" y="1654253"/>
                </a:lnTo>
                <a:lnTo>
                  <a:pt x="2070890" y="1689837"/>
                </a:lnTo>
                <a:lnTo>
                  <a:pt x="2043084" y="1724357"/>
                </a:lnTo>
                <a:lnTo>
                  <a:pt x="2013837" y="1757772"/>
                </a:lnTo>
                <a:lnTo>
                  <a:pt x="1983194" y="1790044"/>
                </a:lnTo>
                <a:lnTo>
                  <a:pt x="1951196" y="1821132"/>
                </a:lnTo>
                <a:lnTo>
                  <a:pt x="1917887" y="1850996"/>
                </a:lnTo>
                <a:lnTo>
                  <a:pt x="1883309" y="1879596"/>
                </a:lnTo>
                <a:lnTo>
                  <a:pt x="1847506" y="1906891"/>
                </a:lnTo>
                <a:lnTo>
                  <a:pt x="1810520" y="1932843"/>
                </a:lnTo>
                <a:lnTo>
                  <a:pt x="1772394" y="1957410"/>
                </a:lnTo>
                <a:lnTo>
                  <a:pt x="1733172" y="1980554"/>
                </a:lnTo>
                <a:lnTo>
                  <a:pt x="1692896" y="2002233"/>
                </a:lnTo>
                <a:lnTo>
                  <a:pt x="1651609" y="2022407"/>
                </a:lnTo>
                <a:lnTo>
                  <a:pt x="1609354" y="2041038"/>
                </a:lnTo>
                <a:lnTo>
                  <a:pt x="1566173" y="2058084"/>
                </a:lnTo>
                <a:lnTo>
                  <a:pt x="1522111" y="2073506"/>
                </a:lnTo>
                <a:lnTo>
                  <a:pt x="1477209" y="2087263"/>
                </a:lnTo>
                <a:lnTo>
                  <a:pt x="1431511" y="2099316"/>
                </a:lnTo>
                <a:lnTo>
                  <a:pt x="1385059" y="2109625"/>
                </a:lnTo>
                <a:lnTo>
                  <a:pt x="1337897" y="2118149"/>
                </a:lnTo>
                <a:lnTo>
                  <a:pt x="1290067" y="2124849"/>
                </a:lnTo>
                <a:lnTo>
                  <a:pt x="1241612" y="2129684"/>
                </a:lnTo>
                <a:lnTo>
                  <a:pt x="1192575" y="2132614"/>
                </a:lnTo>
                <a:lnTo>
                  <a:pt x="1143000" y="2133600"/>
                </a:lnTo>
                <a:lnTo>
                  <a:pt x="1093414" y="2132614"/>
                </a:lnTo>
                <a:lnTo>
                  <a:pt x="1044369" y="2129684"/>
                </a:lnTo>
                <a:lnTo>
                  <a:pt x="995907" y="2124849"/>
                </a:lnTo>
                <a:lnTo>
                  <a:pt x="948070" y="2118149"/>
                </a:lnTo>
                <a:lnTo>
                  <a:pt x="900902" y="2109625"/>
                </a:lnTo>
                <a:lnTo>
                  <a:pt x="854446" y="2099316"/>
                </a:lnTo>
                <a:lnTo>
                  <a:pt x="808743" y="2087263"/>
                </a:lnTo>
                <a:lnTo>
                  <a:pt x="763838" y="2073506"/>
                </a:lnTo>
                <a:lnTo>
                  <a:pt x="719773" y="2058084"/>
                </a:lnTo>
                <a:lnTo>
                  <a:pt x="676591" y="2041038"/>
                </a:lnTo>
                <a:lnTo>
                  <a:pt x="634334" y="2022407"/>
                </a:lnTo>
                <a:lnTo>
                  <a:pt x="593047" y="2002233"/>
                </a:lnTo>
                <a:lnTo>
                  <a:pt x="552770" y="1980554"/>
                </a:lnTo>
                <a:lnTo>
                  <a:pt x="513549" y="1957410"/>
                </a:lnTo>
                <a:lnTo>
                  <a:pt x="475424" y="1932843"/>
                </a:lnTo>
                <a:lnTo>
                  <a:pt x="438440" y="1906891"/>
                </a:lnTo>
                <a:lnTo>
                  <a:pt x="402638" y="1879596"/>
                </a:lnTo>
                <a:lnTo>
                  <a:pt x="368062" y="1850996"/>
                </a:lnTo>
                <a:lnTo>
                  <a:pt x="334756" y="1821132"/>
                </a:lnTo>
                <a:lnTo>
                  <a:pt x="302760" y="1790044"/>
                </a:lnTo>
                <a:lnTo>
                  <a:pt x="272120" y="1757772"/>
                </a:lnTo>
                <a:lnTo>
                  <a:pt x="242876" y="1724357"/>
                </a:lnTo>
                <a:lnTo>
                  <a:pt x="215073" y="1689837"/>
                </a:lnTo>
                <a:lnTo>
                  <a:pt x="188753" y="1654253"/>
                </a:lnTo>
                <a:lnTo>
                  <a:pt x="163958" y="1617646"/>
                </a:lnTo>
                <a:lnTo>
                  <a:pt x="140733" y="1580055"/>
                </a:lnTo>
                <a:lnTo>
                  <a:pt x="119119" y="1541520"/>
                </a:lnTo>
                <a:lnTo>
                  <a:pt x="99160" y="1502082"/>
                </a:lnTo>
                <a:lnTo>
                  <a:pt x="80898" y="1461779"/>
                </a:lnTo>
                <a:lnTo>
                  <a:pt x="64377" y="1420653"/>
                </a:lnTo>
                <a:lnTo>
                  <a:pt x="49638" y="1378744"/>
                </a:lnTo>
                <a:lnTo>
                  <a:pt x="36726" y="1336091"/>
                </a:lnTo>
                <a:lnTo>
                  <a:pt x="25683" y="1292734"/>
                </a:lnTo>
                <a:lnTo>
                  <a:pt x="16551" y="1248714"/>
                </a:lnTo>
                <a:lnTo>
                  <a:pt x="9374" y="1204071"/>
                </a:lnTo>
                <a:lnTo>
                  <a:pt x="4195" y="1158844"/>
                </a:lnTo>
                <a:lnTo>
                  <a:pt x="1055" y="1113073"/>
                </a:lnTo>
                <a:lnTo>
                  <a:pt x="0" y="1066800"/>
                </a:lnTo>
                <a:close/>
              </a:path>
            </a:pathLst>
          </a:custGeom>
          <a:ln w="88900">
            <a:solidFill>
              <a:srgbClr val="000080"/>
            </a:solidFill>
          </a:ln>
        </p:spPr>
        <p:txBody>
          <a:bodyPr wrap="square" lIns="0" tIns="0" rIns="0" bIns="0" rtlCol="0"/>
          <a:lstStyle/>
          <a:p>
            <a:endParaRPr/>
          </a:p>
        </p:txBody>
      </p:sp>
      <p:sp>
        <p:nvSpPr>
          <p:cNvPr id="22" name="object 22"/>
          <p:cNvSpPr/>
          <p:nvPr/>
        </p:nvSpPr>
        <p:spPr>
          <a:xfrm>
            <a:off x="7296150" y="2784475"/>
            <a:ext cx="1177925" cy="620776"/>
          </a:xfrm>
          <a:prstGeom prst="rect">
            <a:avLst/>
          </a:prstGeom>
          <a:blipFill>
            <a:blip r:embed="rId6" cstate="print"/>
            <a:stretch>
              <a:fillRect/>
            </a:stretch>
          </a:blipFill>
        </p:spPr>
        <p:txBody>
          <a:bodyPr wrap="square" lIns="0" tIns="0" rIns="0" bIns="0" rtlCol="0"/>
          <a:lstStyle/>
          <a:p>
            <a:endParaRPr/>
          </a:p>
        </p:txBody>
      </p:sp>
      <p:sp>
        <p:nvSpPr>
          <p:cNvPr id="23" name="object 23"/>
          <p:cNvSpPr/>
          <p:nvPr/>
        </p:nvSpPr>
        <p:spPr>
          <a:xfrm>
            <a:off x="7296150" y="2784475"/>
            <a:ext cx="1177925" cy="621030"/>
          </a:xfrm>
          <a:custGeom>
            <a:avLst/>
            <a:gdLst/>
            <a:ahLst/>
            <a:cxnLst/>
            <a:rect l="l" t="t" r="r" b="b"/>
            <a:pathLst>
              <a:path w="1177925" h="621029">
                <a:moveTo>
                  <a:pt x="0" y="310388"/>
                </a:moveTo>
                <a:lnTo>
                  <a:pt x="11964" y="247826"/>
                </a:lnTo>
                <a:lnTo>
                  <a:pt x="46279" y="189559"/>
                </a:lnTo>
                <a:lnTo>
                  <a:pt x="100579" y="136835"/>
                </a:lnTo>
                <a:lnTo>
                  <a:pt x="134484" y="112941"/>
                </a:lnTo>
                <a:lnTo>
                  <a:pt x="172497" y="90900"/>
                </a:lnTo>
                <a:lnTo>
                  <a:pt x="214324" y="70868"/>
                </a:lnTo>
                <a:lnTo>
                  <a:pt x="259667" y="53002"/>
                </a:lnTo>
                <a:lnTo>
                  <a:pt x="308232" y="37456"/>
                </a:lnTo>
                <a:lnTo>
                  <a:pt x="359723" y="24387"/>
                </a:lnTo>
                <a:lnTo>
                  <a:pt x="413843" y="13952"/>
                </a:lnTo>
                <a:lnTo>
                  <a:pt x="470298" y="6304"/>
                </a:lnTo>
                <a:lnTo>
                  <a:pt x="528790" y="1602"/>
                </a:lnTo>
                <a:lnTo>
                  <a:pt x="589026" y="0"/>
                </a:lnTo>
                <a:lnTo>
                  <a:pt x="649238" y="1602"/>
                </a:lnTo>
                <a:lnTo>
                  <a:pt x="707711" y="6304"/>
                </a:lnTo>
                <a:lnTo>
                  <a:pt x="764149" y="13952"/>
                </a:lnTo>
                <a:lnTo>
                  <a:pt x="818255" y="24387"/>
                </a:lnTo>
                <a:lnTo>
                  <a:pt x="869733" y="37456"/>
                </a:lnTo>
                <a:lnTo>
                  <a:pt x="918288" y="53002"/>
                </a:lnTo>
                <a:lnTo>
                  <a:pt x="963623" y="70868"/>
                </a:lnTo>
                <a:lnTo>
                  <a:pt x="1005443" y="90900"/>
                </a:lnTo>
                <a:lnTo>
                  <a:pt x="1043451" y="112941"/>
                </a:lnTo>
                <a:lnTo>
                  <a:pt x="1077352" y="136835"/>
                </a:lnTo>
                <a:lnTo>
                  <a:pt x="1106849" y="162426"/>
                </a:lnTo>
                <a:lnTo>
                  <a:pt x="1151449" y="218077"/>
                </a:lnTo>
                <a:lnTo>
                  <a:pt x="1174884" y="278648"/>
                </a:lnTo>
                <a:lnTo>
                  <a:pt x="1177925" y="310388"/>
                </a:lnTo>
                <a:lnTo>
                  <a:pt x="1174884" y="342106"/>
                </a:lnTo>
                <a:lnTo>
                  <a:pt x="1165960" y="372913"/>
                </a:lnTo>
                <a:lnTo>
                  <a:pt x="1131647" y="431163"/>
                </a:lnTo>
                <a:lnTo>
                  <a:pt x="1077352" y="483885"/>
                </a:lnTo>
                <a:lnTo>
                  <a:pt x="1043451" y="507782"/>
                </a:lnTo>
                <a:lnTo>
                  <a:pt x="1005443" y="529828"/>
                </a:lnTo>
                <a:lnTo>
                  <a:pt x="963623" y="549866"/>
                </a:lnTo>
                <a:lnTo>
                  <a:pt x="918288" y="567740"/>
                </a:lnTo>
                <a:lnTo>
                  <a:pt x="869733" y="583293"/>
                </a:lnTo>
                <a:lnTo>
                  <a:pt x="818255" y="596370"/>
                </a:lnTo>
                <a:lnTo>
                  <a:pt x="764149" y="606813"/>
                </a:lnTo>
                <a:lnTo>
                  <a:pt x="707711" y="614465"/>
                </a:lnTo>
                <a:lnTo>
                  <a:pt x="649238" y="619172"/>
                </a:lnTo>
                <a:lnTo>
                  <a:pt x="589026" y="620776"/>
                </a:lnTo>
                <a:lnTo>
                  <a:pt x="528790" y="619172"/>
                </a:lnTo>
                <a:lnTo>
                  <a:pt x="470298" y="614465"/>
                </a:lnTo>
                <a:lnTo>
                  <a:pt x="413843" y="606813"/>
                </a:lnTo>
                <a:lnTo>
                  <a:pt x="359723" y="596370"/>
                </a:lnTo>
                <a:lnTo>
                  <a:pt x="308232" y="583293"/>
                </a:lnTo>
                <a:lnTo>
                  <a:pt x="259667" y="567740"/>
                </a:lnTo>
                <a:lnTo>
                  <a:pt x="214324" y="549866"/>
                </a:lnTo>
                <a:lnTo>
                  <a:pt x="172497" y="529828"/>
                </a:lnTo>
                <a:lnTo>
                  <a:pt x="134484" y="507782"/>
                </a:lnTo>
                <a:lnTo>
                  <a:pt x="100579" y="483885"/>
                </a:lnTo>
                <a:lnTo>
                  <a:pt x="71079" y="458293"/>
                </a:lnTo>
                <a:lnTo>
                  <a:pt x="26475" y="402650"/>
                </a:lnTo>
                <a:lnTo>
                  <a:pt x="3040" y="342106"/>
                </a:lnTo>
                <a:lnTo>
                  <a:pt x="0" y="310388"/>
                </a:lnTo>
                <a:close/>
              </a:path>
            </a:pathLst>
          </a:custGeom>
          <a:ln w="12700">
            <a:solidFill>
              <a:srgbClr val="DBFFC8"/>
            </a:solidFill>
          </a:ln>
        </p:spPr>
        <p:txBody>
          <a:bodyPr wrap="square" lIns="0" tIns="0" rIns="0" bIns="0" rtlCol="0"/>
          <a:lstStyle/>
          <a:p>
            <a:endParaRPr/>
          </a:p>
        </p:txBody>
      </p:sp>
      <p:sp>
        <p:nvSpPr>
          <p:cNvPr id="24" name="object 24"/>
          <p:cNvSpPr txBox="1"/>
          <p:nvPr/>
        </p:nvSpPr>
        <p:spPr>
          <a:xfrm>
            <a:off x="7612760" y="2950717"/>
            <a:ext cx="547370" cy="286385"/>
          </a:xfrm>
          <a:prstGeom prst="rect">
            <a:avLst/>
          </a:prstGeom>
        </p:spPr>
        <p:txBody>
          <a:bodyPr vert="horz" wrap="square" lIns="0" tIns="0" rIns="0" bIns="0" rtlCol="0">
            <a:spAutoFit/>
          </a:bodyPr>
          <a:lstStyle/>
          <a:p>
            <a:pPr marL="12700">
              <a:lnSpc>
                <a:spcPct val="100000"/>
              </a:lnSpc>
            </a:pPr>
            <a:r>
              <a:rPr sz="1800" b="1" dirty="0">
                <a:latin typeface="Times New Roman"/>
                <a:cs typeface="Times New Roman"/>
              </a:rPr>
              <a:t>P</a:t>
            </a:r>
            <a:r>
              <a:rPr sz="1800" b="1" spc="5" dirty="0">
                <a:latin typeface="Times New Roman"/>
                <a:cs typeface="Times New Roman"/>
              </a:rPr>
              <a:t>l</a:t>
            </a:r>
            <a:r>
              <a:rPr sz="1800" b="1" dirty="0">
                <a:latin typeface="Times New Roman"/>
                <a:cs typeface="Times New Roman"/>
              </a:rPr>
              <a:t>ant</a:t>
            </a:r>
            <a:endParaRPr sz="1800">
              <a:latin typeface="Times New Roman"/>
              <a:cs typeface="Times New Roman"/>
            </a:endParaRPr>
          </a:p>
        </p:txBody>
      </p:sp>
      <p:sp>
        <p:nvSpPr>
          <p:cNvPr id="25" name="object 25"/>
          <p:cNvSpPr/>
          <p:nvPr/>
        </p:nvSpPr>
        <p:spPr>
          <a:xfrm>
            <a:off x="7016750" y="1676400"/>
            <a:ext cx="692150" cy="550926"/>
          </a:xfrm>
          <a:prstGeom prst="rect">
            <a:avLst/>
          </a:prstGeom>
          <a:blipFill>
            <a:blip r:embed="rId7" cstate="print"/>
            <a:stretch>
              <a:fillRect/>
            </a:stretch>
          </a:blipFill>
        </p:spPr>
        <p:txBody>
          <a:bodyPr wrap="square" lIns="0" tIns="0" rIns="0" bIns="0" rtlCol="0"/>
          <a:lstStyle/>
          <a:p>
            <a:endParaRPr/>
          </a:p>
        </p:txBody>
      </p:sp>
      <p:sp>
        <p:nvSpPr>
          <p:cNvPr id="26" name="object 26"/>
          <p:cNvSpPr/>
          <p:nvPr/>
        </p:nvSpPr>
        <p:spPr>
          <a:xfrm>
            <a:off x="7016750" y="1676400"/>
            <a:ext cx="692150" cy="551180"/>
          </a:xfrm>
          <a:custGeom>
            <a:avLst/>
            <a:gdLst/>
            <a:ahLst/>
            <a:cxnLst/>
            <a:rect l="l" t="t" r="r" b="b"/>
            <a:pathLst>
              <a:path w="692150" h="551180">
                <a:moveTo>
                  <a:pt x="0" y="275463"/>
                </a:moveTo>
                <a:lnTo>
                  <a:pt x="3752" y="234754"/>
                </a:lnTo>
                <a:lnTo>
                  <a:pt x="14652" y="195901"/>
                </a:lnTo>
                <a:lnTo>
                  <a:pt x="32164" y="159329"/>
                </a:lnTo>
                <a:lnTo>
                  <a:pt x="55754" y="125465"/>
                </a:lnTo>
                <a:lnTo>
                  <a:pt x="84885" y="94734"/>
                </a:lnTo>
                <a:lnTo>
                  <a:pt x="119023" y="67562"/>
                </a:lnTo>
                <a:lnTo>
                  <a:pt x="157632" y="44375"/>
                </a:lnTo>
                <a:lnTo>
                  <a:pt x="200177" y="25600"/>
                </a:lnTo>
                <a:lnTo>
                  <a:pt x="246122" y="11661"/>
                </a:lnTo>
                <a:lnTo>
                  <a:pt x="294933" y="2986"/>
                </a:lnTo>
                <a:lnTo>
                  <a:pt x="346075" y="0"/>
                </a:lnTo>
                <a:lnTo>
                  <a:pt x="397216" y="2986"/>
                </a:lnTo>
                <a:lnTo>
                  <a:pt x="446027" y="11661"/>
                </a:lnTo>
                <a:lnTo>
                  <a:pt x="491972" y="25600"/>
                </a:lnTo>
                <a:lnTo>
                  <a:pt x="534517" y="44375"/>
                </a:lnTo>
                <a:lnTo>
                  <a:pt x="573126" y="67562"/>
                </a:lnTo>
                <a:lnTo>
                  <a:pt x="607264" y="94734"/>
                </a:lnTo>
                <a:lnTo>
                  <a:pt x="636395" y="125465"/>
                </a:lnTo>
                <a:lnTo>
                  <a:pt x="659985" y="159329"/>
                </a:lnTo>
                <a:lnTo>
                  <a:pt x="677497" y="195901"/>
                </a:lnTo>
                <a:lnTo>
                  <a:pt x="688397" y="234754"/>
                </a:lnTo>
                <a:lnTo>
                  <a:pt x="692150" y="275463"/>
                </a:lnTo>
                <a:lnTo>
                  <a:pt x="688397" y="316171"/>
                </a:lnTo>
                <a:lnTo>
                  <a:pt x="677497" y="355024"/>
                </a:lnTo>
                <a:lnTo>
                  <a:pt x="659985" y="391596"/>
                </a:lnTo>
                <a:lnTo>
                  <a:pt x="636395" y="425460"/>
                </a:lnTo>
                <a:lnTo>
                  <a:pt x="607264" y="456191"/>
                </a:lnTo>
                <a:lnTo>
                  <a:pt x="573126" y="483363"/>
                </a:lnTo>
                <a:lnTo>
                  <a:pt x="534517" y="506550"/>
                </a:lnTo>
                <a:lnTo>
                  <a:pt x="491972" y="525325"/>
                </a:lnTo>
                <a:lnTo>
                  <a:pt x="446027" y="539264"/>
                </a:lnTo>
                <a:lnTo>
                  <a:pt x="397216" y="547939"/>
                </a:lnTo>
                <a:lnTo>
                  <a:pt x="346075" y="550926"/>
                </a:lnTo>
                <a:lnTo>
                  <a:pt x="294933" y="547939"/>
                </a:lnTo>
                <a:lnTo>
                  <a:pt x="246122" y="539264"/>
                </a:lnTo>
                <a:lnTo>
                  <a:pt x="200177" y="525325"/>
                </a:lnTo>
                <a:lnTo>
                  <a:pt x="157632" y="506550"/>
                </a:lnTo>
                <a:lnTo>
                  <a:pt x="119023" y="483363"/>
                </a:lnTo>
                <a:lnTo>
                  <a:pt x="84885" y="456191"/>
                </a:lnTo>
                <a:lnTo>
                  <a:pt x="55754" y="425460"/>
                </a:lnTo>
                <a:lnTo>
                  <a:pt x="32164" y="391596"/>
                </a:lnTo>
                <a:lnTo>
                  <a:pt x="14652" y="355024"/>
                </a:lnTo>
                <a:lnTo>
                  <a:pt x="3752" y="316171"/>
                </a:lnTo>
                <a:lnTo>
                  <a:pt x="0" y="275463"/>
                </a:lnTo>
                <a:close/>
              </a:path>
            </a:pathLst>
          </a:custGeom>
          <a:ln w="12700">
            <a:solidFill>
              <a:srgbClr val="FFFF00"/>
            </a:solidFill>
          </a:ln>
        </p:spPr>
        <p:txBody>
          <a:bodyPr wrap="square" lIns="0" tIns="0" rIns="0" bIns="0" rtlCol="0"/>
          <a:lstStyle/>
          <a:p>
            <a:endParaRPr/>
          </a:p>
        </p:txBody>
      </p:sp>
      <p:sp>
        <p:nvSpPr>
          <p:cNvPr id="27" name="object 27"/>
          <p:cNvSpPr txBox="1"/>
          <p:nvPr/>
        </p:nvSpPr>
        <p:spPr>
          <a:xfrm>
            <a:off x="7178167" y="1733296"/>
            <a:ext cx="372745" cy="438784"/>
          </a:xfrm>
          <a:prstGeom prst="rect">
            <a:avLst/>
          </a:prstGeom>
        </p:spPr>
        <p:txBody>
          <a:bodyPr vert="horz" wrap="square" lIns="0" tIns="0" rIns="0" bIns="0" rtlCol="0">
            <a:spAutoFit/>
          </a:bodyPr>
          <a:lstStyle/>
          <a:p>
            <a:pPr marL="34925" marR="5080" indent="-22860">
              <a:lnSpc>
                <a:spcPct val="100000"/>
              </a:lnSpc>
            </a:pPr>
            <a:r>
              <a:rPr sz="1400" b="1" dirty="0">
                <a:latin typeface="Times New Roman"/>
                <a:cs typeface="Times New Roman"/>
              </a:rPr>
              <a:t>Ship  </a:t>
            </a:r>
            <a:r>
              <a:rPr sz="1400" b="1" spc="-5" dirty="0">
                <a:latin typeface="Times New Roman"/>
                <a:cs typeface="Times New Roman"/>
              </a:rPr>
              <a:t>Pt</a:t>
            </a:r>
            <a:r>
              <a:rPr sz="1400" b="1" spc="-110" dirty="0">
                <a:latin typeface="Times New Roman"/>
                <a:cs typeface="Times New Roman"/>
              </a:rPr>
              <a:t> </a:t>
            </a:r>
            <a:r>
              <a:rPr sz="1400" b="1" dirty="0">
                <a:latin typeface="Times New Roman"/>
                <a:cs typeface="Times New Roman"/>
              </a:rPr>
              <a:t>1</a:t>
            </a:r>
            <a:endParaRPr sz="1400">
              <a:latin typeface="Times New Roman"/>
              <a:cs typeface="Times New Roman"/>
            </a:endParaRPr>
          </a:p>
        </p:txBody>
      </p:sp>
      <p:sp>
        <p:nvSpPr>
          <p:cNvPr id="28" name="object 28"/>
          <p:cNvSpPr/>
          <p:nvPr/>
        </p:nvSpPr>
        <p:spPr>
          <a:xfrm>
            <a:off x="8035925" y="1733550"/>
            <a:ext cx="692150" cy="550926"/>
          </a:xfrm>
          <a:prstGeom prst="rect">
            <a:avLst/>
          </a:prstGeom>
          <a:blipFill>
            <a:blip r:embed="rId7" cstate="print"/>
            <a:stretch>
              <a:fillRect/>
            </a:stretch>
          </a:blipFill>
        </p:spPr>
        <p:txBody>
          <a:bodyPr wrap="square" lIns="0" tIns="0" rIns="0" bIns="0" rtlCol="0"/>
          <a:lstStyle/>
          <a:p>
            <a:endParaRPr/>
          </a:p>
        </p:txBody>
      </p:sp>
      <p:sp>
        <p:nvSpPr>
          <p:cNvPr id="29" name="object 29"/>
          <p:cNvSpPr/>
          <p:nvPr/>
        </p:nvSpPr>
        <p:spPr>
          <a:xfrm>
            <a:off x="8035925" y="1733550"/>
            <a:ext cx="692150" cy="551180"/>
          </a:xfrm>
          <a:custGeom>
            <a:avLst/>
            <a:gdLst/>
            <a:ahLst/>
            <a:cxnLst/>
            <a:rect l="l" t="t" r="r" b="b"/>
            <a:pathLst>
              <a:path w="692150" h="551180">
                <a:moveTo>
                  <a:pt x="0" y="275463"/>
                </a:moveTo>
                <a:lnTo>
                  <a:pt x="3752" y="234754"/>
                </a:lnTo>
                <a:lnTo>
                  <a:pt x="14652" y="195901"/>
                </a:lnTo>
                <a:lnTo>
                  <a:pt x="32164" y="159329"/>
                </a:lnTo>
                <a:lnTo>
                  <a:pt x="55754" y="125465"/>
                </a:lnTo>
                <a:lnTo>
                  <a:pt x="84885" y="94734"/>
                </a:lnTo>
                <a:lnTo>
                  <a:pt x="119023" y="67562"/>
                </a:lnTo>
                <a:lnTo>
                  <a:pt x="157632" y="44375"/>
                </a:lnTo>
                <a:lnTo>
                  <a:pt x="200177" y="25600"/>
                </a:lnTo>
                <a:lnTo>
                  <a:pt x="246122" y="11661"/>
                </a:lnTo>
                <a:lnTo>
                  <a:pt x="294933" y="2986"/>
                </a:lnTo>
                <a:lnTo>
                  <a:pt x="346075" y="0"/>
                </a:lnTo>
                <a:lnTo>
                  <a:pt x="397216" y="2986"/>
                </a:lnTo>
                <a:lnTo>
                  <a:pt x="446027" y="11661"/>
                </a:lnTo>
                <a:lnTo>
                  <a:pt x="491972" y="25600"/>
                </a:lnTo>
                <a:lnTo>
                  <a:pt x="534517" y="44375"/>
                </a:lnTo>
                <a:lnTo>
                  <a:pt x="573126" y="67562"/>
                </a:lnTo>
                <a:lnTo>
                  <a:pt x="607264" y="94734"/>
                </a:lnTo>
                <a:lnTo>
                  <a:pt x="636395" y="125465"/>
                </a:lnTo>
                <a:lnTo>
                  <a:pt x="659985" y="159329"/>
                </a:lnTo>
                <a:lnTo>
                  <a:pt x="677497" y="195901"/>
                </a:lnTo>
                <a:lnTo>
                  <a:pt x="688397" y="234754"/>
                </a:lnTo>
                <a:lnTo>
                  <a:pt x="692150" y="275463"/>
                </a:lnTo>
                <a:lnTo>
                  <a:pt x="688397" y="316171"/>
                </a:lnTo>
                <a:lnTo>
                  <a:pt x="677497" y="355024"/>
                </a:lnTo>
                <a:lnTo>
                  <a:pt x="659985" y="391596"/>
                </a:lnTo>
                <a:lnTo>
                  <a:pt x="636395" y="425460"/>
                </a:lnTo>
                <a:lnTo>
                  <a:pt x="607264" y="456191"/>
                </a:lnTo>
                <a:lnTo>
                  <a:pt x="573126" y="483363"/>
                </a:lnTo>
                <a:lnTo>
                  <a:pt x="534517" y="506550"/>
                </a:lnTo>
                <a:lnTo>
                  <a:pt x="491972" y="525325"/>
                </a:lnTo>
                <a:lnTo>
                  <a:pt x="446027" y="539264"/>
                </a:lnTo>
                <a:lnTo>
                  <a:pt x="397216" y="547939"/>
                </a:lnTo>
                <a:lnTo>
                  <a:pt x="346075" y="550926"/>
                </a:lnTo>
                <a:lnTo>
                  <a:pt x="294933" y="547939"/>
                </a:lnTo>
                <a:lnTo>
                  <a:pt x="246122" y="539264"/>
                </a:lnTo>
                <a:lnTo>
                  <a:pt x="200177" y="525325"/>
                </a:lnTo>
                <a:lnTo>
                  <a:pt x="157632" y="506550"/>
                </a:lnTo>
                <a:lnTo>
                  <a:pt x="119023" y="483363"/>
                </a:lnTo>
                <a:lnTo>
                  <a:pt x="84885" y="456191"/>
                </a:lnTo>
                <a:lnTo>
                  <a:pt x="55754" y="425460"/>
                </a:lnTo>
                <a:lnTo>
                  <a:pt x="32164" y="391596"/>
                </a:lnTo>
                <a:lnTo>
                  <a:pt x="14652" y="355024"/>
                </a:lnTo>
                <a:lnTo>
                  <a:pt x="3752" y="316171"/>
                </a:lnTo>
                <a:lnTo>
                  <a:pt x="0" y="275463"/>
                </a:lnTo>
                <a:close/>
              </a:path>
            </a:pathLst>
          </a:custGeom>
          <a:ln w="12700">
            <a:solidFill>
              <a:srgbClr val="FFFF00"/>
            </a:solidFill>
          </a:ln>
        </p:spPr>
        <p:txBody>
          <a:bodyPr wrap="square" lIns="0" tIns="0" rIns="0" bIns="0" rtlCol="0"/>
          <a:lstStyle/>
          <a:p>
            <a:endParaRPr/>
          </a:p>
        </p:txBody>
      </p:sp>
      <p:sp>
        <p:nvSpPr>
          <p:cNvPr id="30" name="object 30"/>
          <p:cNvSpPr txBox="1"/>
          <p:nvPr/>
        </p:nvSpPr>
        <p:spPr>
          <a:xfrm>
            <a:off x="8197342" y="1790319"/>
            <a:ext cx="372745" cy="439420"/>
          </a:xfrm>
          <a:prstGeom prst="rect">
            <a:avLst/>
          </a:prstGeom>
        </p:spPr>
        <p:txBody>
          <a:bodyPr vert="horz" wrap="square" lIns="0" tIns="0" rIns="0" bIns="0" rtlCol="0">
            <a:spAutoFit/>
          </a:bodyPr>
          <a:lstStyle/>
          <a:p>
            <a:pPr marL="12700">
              <a:lnSpc>
                <a:spcPct val="100000"/>
              </a:lnSpc>
            </a:pPr>
            <a:r>
              <a:rPr sz="1400" b="1" dirty="0">
                <a:latin typeface="Times New Roman"/>
                <a:cs typeface="Times New Roman"/>
              </a:rPr>
              <a:t>Ship</a:t>
            </a:r>
            <a:endParaRPr sz="1400">
              <a:latin typeface="Times New Roman"/>
              <a:cs typeface="Times New Roman"/>
            </a:endParaRPr>
          </a:p>
          <a:p>
            <a:pPr marL="34925">
              <a:lnSpc>
                <a:spcPct val="100000"/>
              </a:lnSpc>
            </a:pPr>
            <a:r>
              <a:rPr sz="1400" b="1" spc="-5" dirty="0">
                <a:latin typeface="Times New Roman"/>
                <a:cs typeface="Times New Roman"/>
              </a:rPr>
              <a:t>Pt</a:t>
            </a:r>
            <a:r>
              <a:rPr sz="1400" b="1" spc="-110" dirty="0">
                <a:latin typeface="Times New Roman"/>
                <a:cs typeface="Times New Roman"/>
              </a:rPr>
              <a:t> </a:t>
            </a:r>
            <a:r>
              <a:rPr sz="1400" b="1" dirty="0">
                <a:latin typeface="Times New Roman"/>
                <a:cs typeface="Times New Roman"/>
              </a:rPr>
              <a:t>2</a:t>
            </a:r>
            <a:endParaRPr sz="1400">
              <a:latin typeface="Times New Roman"/>
              <a:cs typeface="Times New Roman"/>
            </a:endParaRPr>
          </a:p>
        </p:txBody>
      </p:sp>
      <p:sp>
        <p:nvSpPr>
          <p:cNvPr id="31" name="object 31"/>
          <p:cNvSpPr/>
          <p:nvPr/>
        </p:nvSpPr>
        <p:spPr>
          <a:xfrm>
            <a:off x="8143113" y="2266950"/>
            <a:ext cx="198120" cy="539115"/>
          </a:xfrm>
          <a:custGeom>
            <a:avLst/>
            <a:gdLst/>
            <a:ahLst/>
            <a:cxnLst/>
            <a:rect l="l" t="t" r="r" b="b"/>
            <a:pathLst>
              <a:path w="198120" h="539114">
                <a:moveTo>
                  <a:pt x="118408" y="113435"/>
                </a:moveTo>
                <a:lnTo>
                  <a:pt x="0" y="527685"/>
                </a:lnTo>
                <a:lnTo>
                  <a:pt x="39623" y="539114"/>
                </a:lnTo>
                <a:lnTo>
                  <a:pt x="158040" y="124716"/>
                </a:lnTo>
                <a:lnTo>
                  <a:pt x="118408" y="113435"/>
                </a:lnTo>
                <a:close/>
              </a:path>
              <a:path w="198120" h="539114">
                <a:moveTo>
                  <a:pt x="189778" y="93599"/>
                </a:moveTo>
                <a:lnTo>
                  <a:pt x="124078" y="93599"/>
                </a:lnTo>
                <a:lnTo>
                  <a:pt x="163702" y="104901"/>
                </a:lnTo>
                <a:lnTo>
                  <a:pt x="158040" y="124716"/>
                </a:lnTo>
                <a:lnTo>
                  <a:pt x="197738" y="136016"/>
                </a:lnTo>
                <a:lnTo>
                  <a:pt x="189778" y="93599"/>
                </a:lnTo>
                <a:close/>
              </a:path>
              <a:path w="198120" h="539114">
                <a:moveTo>
                  <a:pt x="124078" y="93599"/>
                </a:moveTo>
                <a:lnTo>
                  <a:pt x="118408" y="113435"/>
                </a:lnTo>
                <a:lnTo>
                  <a:pt x="158040" y="124716"/>
                </a:lnTo>
                <a:lnTo>
                  <a:pt x="163702" y="104901"/>
                </a:lnTo>
                <a:lnTo>
                  <a:pt x="124078" y="93599"/>
                </a:lnTo>
                <a:close/>
              </a:path>
              <a:path w="198120" h="539114">
                <a:moveTo>
                  <a:pt x="172211" y="0"/>
                </a:moveTo>
                <a:lnTo>
                  <a:pt x="78612" y="102108"/>
                </a:lnTo>
                <a:lnTo>
                  <a:pt x="118408" y="113435"/>
                </a:lnTo>
                <a:lnTo>
                  <a:pt x="124078" y="93599"/>
                </a:lnTo>
                <a:lnTo>
                  <a:pt x="189778" y="93599"/>
                </a:lnTo>
                <a:lnTo>
                  <a:pt x="172211" y="0"/>
                </a:lnTo>
                <a:close/>
              </a:path>
            </a:pathLst>
          </a:custGeom>
          <a:solidFill>
            <a:srgbClr val="000080"/>
          </a:solidFill>
        </p:spPr>
        <p:txBody>
          <a:bodyPr wrap="square" lIns="0" tIns="0" rIns="0" bIns="0" rtlCol="0"/>
          <a:lstStyle/>
          <a:p>
            <a:endParaRPr/>
          </a:p>
        </p:txBody>
      </p:sp>
      <p:sp>
        <p:nvSpPr>
          <p:cNvPr id="32" name="object 32"/>
          <p:cNvSpPr/>
          <p:nvPr/>
        </p:nvSpPr>
        <p:spPr>
          <a:xfrm>
            <a:off x="7385177" y="2204973"/>
            <a:ext cx="202565" cy="614680"/>
          </a:xfrm>
          <a:custGeom>
            <a:avLst/>
            <a:gdLst/>
            <a:ahLst/>
            <a:cxnLst/>
            <a:rect l="l" t="t" r="r" b="b"/>
            <a:pathLst>
              <a:path w="202565" h="614680">
                <a:moveTo>
                  <a:pt x="80074" y="115193"/>
                </a:moveTo>
                <a:lnTo>
                  <a:pt x="40067" y="125217"/>
                </a:lnTo>
                <a:lnTo>
                  <a:pt x="162432" y="614679"/>
                </a:lnTo>
                <a:lnTo>
                  <a:pt x="202438" y="604647"/>
                </a:lnTo>
                <a:lnTo>
                  <a:pt x="80074" y="115193"/>
                </a:lnTo>
                <a:close/>
              </a:path>
              <a:path w="202565" h="614680">
                <a:moveTo>
                  <a:pt x="29972" y="0"/>
                </a:moveTo>
                <a:lnTo>
                  <a:pt x="0" y="135254"/>
                </a:lnTo>
                <a:lnTo>
                  <a:pt x="40067" y="125217"/>
                </a:lnTo>
                <a:lnTo>
                  <a:pt x="35051" y="105155"/>
                </a:lnTo>
                <a:lnTo>
                  <a:pt x="75056" y="95123"/>
                </a:lnTo>
                <a:lnTo>
                  <a:pt x="111538" y="95123"/>
                </a:lnTo>
                <a:lnTo>
                  <a:pt x="29972" y="0"/>
                </a:lnTo>
                <a:close/>
              </a:path>
              <a:path w="202565" h="614680">
                <a:moveTo>
                  <a:pt x="75056" y="95123"/>
                </a:moveTo>
                <a:lnTo>
                  <a:pt x="35051" y="105155"/>
                </a:lnTo>
                <a:lnTo>
                  <a:pt x="40067" y="125217"/>
                </a:lnTo>
                <a:lnTo>
                  <a:pt x="80074" y="115193"/>
                </a:lnTo>
                <a:lnTo>
                  <a:pt x="75056" y="95123"/>
                </a:lnTo>
                <a:close/>
              </a:path>
              <a:path w="202565" h="614680">
                <a:moveTo>
                  <a:pt x="111538" y="95123"/>
                </a:moveTo>
                <a:lnTo>
                  <a:pt x="75056" y="95123"/>
                </a:lnTo>
                <a:lnTo>
                  <a:pt x="80074" y="115193"/>
                </a:lnTo>
                <a:lnTo>
                  <a:pt x="120142" y="105155"/>
                </a:lnTo>
                <a:lnTo>
                  <a:pt x="111538" y="95123"/>
                </a:lnTo>
                <a:close/>
              </a:path>
            </a:pathLst>
          </a:custGeom>
          <a:solidFill>
            <a:srgbClr val="000080"/>
          </a:solidFill>
        </p:spPr>
        <p:txBody>
          <a:bodyPr wrap="square" lIns="0" tIns="0" rIns="0" bIns="0" rtlCol="0"/>
          <a:lstStyle/>
          <a:p>
            <a:endParaRPr/>
          </a:p>
        </p:txBody>
      </p:sp>
      <p:sp>
        <p:nvSpPr>
          <p:cNvPr id="33" name="object 33"/>
          <p:cNvSpPr/>
          <p:nvPr/>
        </p:nvSpPr>
        <p:spPr>
          <a:xfrm>
            <a:off x="385762" y="1136014"/>
            <a:ext cx="3805174" cy="3740785"/>
          </a:xfrm>
          <a:prstGeom prst="rect">
            <a:avLst/>
          </a:prstGeom>
          <a:blipFill>
            <a:blip r:embed="rId8" cstate="print"/>
            <a:stretch>
              <a:fillRect/>
            </a:stretch>
          </a:blipFill>
        </p:spPr>
        <p:txBody>
          <a:bodyPr wrap="square" lIns="0" tIns="0" rIns="0" bIns="0" rtlCol="0"/>
          <a:lstStyle/>
          <a:p>
            <a:endParaRPr/>
          </a:p>
        </p:txBody>
      </p:sp>
      <p:sp>
        <p:nvSpPr>
          <p:cNvPr id="34" name="object 34"/>
          <p:cNvSpPr txBox="1"/>
          <p:nvPr/>
        </p:nvSpPr>
        <p:spPr>
          <a:xfrm>
            <a:off x="154939" y="5100701"/>
            <a:ext cx="8497570" cy="1146468"/>
          </a:xfrm>
          <a:prstGeom prst="rect">
            <a:avLst/>
          </a:prstGeom>
        </p:spPr>
        <p:txBody>
          <a:bodyPr vert="horz" wrap="square" lIns="0" tIns="0" rIns="0" bIns="0" rtlCol="0">
            <a:spAutoFit/>
          </a:bodyPr>
          <a:lstStyle/>
          <a:p>
            <a:pPr marL="298450" marR="5080" indent="-285750">
              <a:buClr>
                <a:srgbClr val="00B0F0"/>
              </a:buClr>
              <a:buFont typeface="Wingdings" panose="05000000000000000000" pitchFamily="2" charset="2"/>
              <a:buChar char="§"/>
              <a:tabLst>
                <a:tab pos="139700" algn="l"/>
              </a:tabLst>
            </a:pPr>
            <a:r>
              <a:rPr spc="-5" dirty="0">
                <a:latin typeface="Arial"/>
                <a:cs typeface="Arial"/>
              </a:rPr>
              <a:t>Though it is possible to one Assign Shipping to several Plants, generally it is avoided. Creating &amp;  assigning a unique Shipping Point to each plant helps in Authorization Control &amp; differentiating  delivery documents belonging to a unit.</a:t>
            </a:r>
          </a:p>
          <a:p>
            <a:pPr>
              <a:lnSpc>
                <a:spcPct val="100000"/>
              </a:lnSpc>
              <a:spcBef>
                <a:spcPts val="45"/>
              </a:spcBef>
            </a:pPr>
            <a:endParaRPr sz="2050" dirty="0">
              <a:latin typeface="Times New Roman"/>
              <a:cs typeface="Times New Roman"/>
            </a:endParaRPr>
          </a:p>
        </p:txBody>
      </p:sp>
      <p:sp>
        <p:nvSpPr>
          <p:cNvPr id="36" name="object 36"/>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42</a:t>
            </a:fld>
            <a:endParaRPr sz="1200">
              <a:latin typeface="Symbol"/>
              <a:cs typeface="Symbol"/>
            </a:endParaRP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68300" y="2967335"/>
            <a:ext cx="8470900" cy="646331"/>
          </a:xfrm>
          <a:prstGeom prst="rect">
            <a:avLst/>
          </a:prstGeom>
        </p:spPr>
        <p:txBody>
          <a:bodyPr wrap="square">
            <a:spAutoFit/>
          </a:bodyPr>
          <a:lstStyle/>
          <a:p>
            <a:pPr marL="12700" marR="23495">
              <a:lnSpc>
                <a:spcPct val="100000"/>
              </a:lnSpc>
            </a:pPr>
            <a:r>
              <a:rPr lang="en-US" b="1" spc="-5" dirty="0" smtClean="0">
                <a:latin typeface="Arial"/>
                <a:cs typeface="Arial"/>
              </a:rPr>
              <a:t>Display </a:t>
            </a:r>
            <a:r>
              <a:rPr lang="en-US" b="1" dirty="0" smtClean="0">
                <a:latin typeface="Arial"/>
                <a:cs typeface="Arial"/>
              </a:rPr>
              <a:t>IMG </a:t>
            </a:r>
            <a:r>
              <a:rPr lang="en-US" b="1" spc="-5" dirty="0" smtClean="0">
                <a:latin typeface="Wingdings"/>
                <a:cs typeface="Wingdings"/>
              </a:rPr>
              <a:t></a:t>
            </a:r>
            <a:r>
              <a:rPr lang="en-US" b="1" spc="-5" dirty="0" smtClean="0">
                <a:latin typeface="Times New Roman"/>
                <a:cs typeface="Times New Roman"/>
              </a:rPr>
              <a:t> </a:t>
            </a:r>
            <a:r>
              <a:rPr lang="en-US" b="1" spc="-5" dirty="0" smtClean="0">
                <a:latin typeface="Arial"/>
                <a:cs typeface="Arial"/>
              </a:rPr>
              <a:t>Enterprise structure </a:t>
            </a:r>
            <a:r>
              <a:rPr lang="en-US" b="1" spc="-5" dirty="0" smtClean="0">
                <a:latin typeface="Wingdings"/>
                <a:cs typeface="Wingdings"/>
              </a:rPr>
              <a:t></a:t>
            </a:r>
            <a:r>
              <a:rPr lang="en-US" b="1" spc="-5" dirty="0" smtClean="0">
                <a:latin typeface="Times New Roman"/>
                <a:cs typeface="Times New Roman"/>
              </a:rPr>
              <a:t> </a:t>
            </a:r>
            <a:r>
              <a:rPr lang="en-US" b="1" spc="-10" dirty="0" smtClean="0">
                <a:latin typeface="Arial"/>
                <a:cs typeface="Arial"/>
              </a:rPr>
              <a:t>Assignment </a:t>
            </a:r>
            <a:r>
              <a:rPr lang="en-US" b="1" spc="-5" dirty="0" smtClean="0">
                <a:latin typeface="Wingdings"/>
                <a:cs typeface="Wingdings"/>
              </a:rPr>
              <a:t></a:t>
            </a:r>
            <a:r>
              <a:rPr lang="en-US" b="1" spc="-5" dirty="0" smtClean="0">
                <a:latin typeface="Times New Roman"/>
                <a:cs typeface="Times New Roman"/>
              </a:rPr>
              <a:t> </a:t>
            </a:r>
            <a:r>
              <a:rPr lang="en-US" b="1" spc="-5" dirty="0" smtClean="0">
                <a:latin typeface="Arial"/>
                <a:cs typeface="Arial"/>
              </a:rPr>
              <a:t>Logistics Execution </a:t>
            </a:r>
            <a:r>
              <a:rPr lang="en-US" b="1" spc="-5" dirty="0" smtClean="0">
                <a:latin typeface="Wingdings"/>
                <a:cs typeface="Wingdings"/>
              </a:rPr>
              <a:t></a:t>
            </a:r>
            <a:r>
              <a:rPr lang="en-US" b="1" spc="-5" dirty="0" smtClean="0">
                <a:latin typeface="Times New Roman"/>
                <a:cs typeface="Times New Roman"/>
              </a:rPr>
              <a:t> </a:t>
            </a:r>
            <a:r>
              <a:rPr lang="en-US" b="1" spc="-15" dirty="0" smtClean="0">
                <a:latin typeface="Arial"/>
                <a:cs typeface="Arial"/>
              </a:rPr>
              <a:t>Assign </a:t>
            </a:r>
            <a:r>
              <a:rPr lang="en-US" b="1" spc="-5" dirty="0" smtClean="0">
                <a:latin typeface="Arial"/>
                <a:cs typeface="Arial"/>
              </a:rPr>
              <a:t>Shipping  Point </a:t>
            </a:r>
            <a:r>
              <a:rPr lang="en-US" b="1" dirty="0" smtClean="0">
                <a:latin typeface="Arial"/>
                <a:cs typeface="Arial"/>
              </a:rPr>
              <a:t>to</a:t>
            </a:r>
            <a:r>
              <a:rPr lang="en-US" b="1" spc="-90" dirty="0" smtClean="0">
                <a:latin typeface="Arial"/>
                <a:cs typeface="Arial"/>
              </a:rPr>
              <a:t> </a:t>
            </a:r>
            <a:r>
              <a:rPr lang="en-US" b="1" spc="-5" dirty="0" smtClean="0">
                <a:latin typeface="Arial"/>
                <a:cs typeface="Arial"/>
              </a:rPr>
              <a:t>Plant</a:t>
            </a:r>
            <a:endParaRPr lang="en-US" dirty="0">
              <a:latin typeface="Arial"/>
              <a:cs typeface="Arial"/>
            </a:endParaRPr>
          </a:p>
        </p:txBody>
      </p:sp>
      <p:sp>
        <p:nvSpPr>
          <p:cNvPr id="5" name="object 4"/>
          <p:cNvSpPr txBox="1">
            <a:spLocks noGrp="1"/>
          </p:cNvSpPr>
          <p:nvPr>
            <p:ph type="title"/>
          </p:nvPr>
        </p:nvSpPr>
        <p:spPr>
          <a:xfrm>
            <a:off x="152400" y="152400"/>
            <a:ext cx="9144000" cy="492443"/>
          </a:xfrm>
          <a:prstGeom prst="rect">
            <a:avLst/>
          </a:prstGeom>
        </p:spPr>
        <p:txBody>
          <a:bodyPr vert="horz" wrap="square" lIns="0" tIns="0" rIns="0" bIns="0" rtlCol="0">
            <a:spAutoFit/>
          </a:bodyPr>
          <a:lstStyle/>
          <a:p>
            <a:r>
              <a:rPr dirty="0"/>
              <a:t>Assign Shipping Point to Plant</a:t>
            </a:r>
          </a:p>
        </p:txBody>
      </p:sp>
    </p:spTree>
    <p:extLst>
      <p:ext uri="{BB962C8B-B14F-4D97-AF65-F5344CB8AC3E}">
        <p14:creationId xmlns:p14="http://schemas.microsoft.com/office/powerpoint/2010/main" xmlns="" val="217180482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39648" y="193928"/>
            <a:ext cx="5840730" cy="492443"/>
          </a:xfrm>
          <a:prstGeom prst="rect">
            <a:avLst/>
          </a:prstGeom>
        </p:spPr>
        <p:txBody>
          <a:bodyPr vert="horz" wrap="square" lIns="0" tIns="0" rIns="0" bIns="0" rtlCol="0">
            <a:spAutoFit/>
          </a:bodyPr>
          <a:lstStyle/>
          <a:p>
            <a:pPr>
              <a:lnSpc>
                <a:spcPct val="100000"/>
              </a:lnSpc>
            </a:pPr>
            <a:r>
              <a:rPr dirty="0"/>
              <a:t>Attributes &amp; Application</a:t>
            </a:r>
          </a:p>
        </p:txBody>
      </p:sp>
      <p:graphicFrame>
        <p:nvGraphicFramePr>
          <p:cNvPr id="3" name="object 3"/>
          <p:cNvGraphicFramePr>
            <a:graphicFrameLocks noGrp="1"/>
          </p:cNvGraphicFramePr>
          <p:nvPr>
            <p:extLst>
              <p:ext uri="{D42A27DB-BD31-4B8C-83A1-F6EECF244321}">
                <p14:modId xmlns:p14="http://schemas.microsoft.com/office/powerpoint/2010/main" xmlns="" val="330337389"/>
              </p:ext>
            </p:extLst>
          </p:nvPr>
        </p:nvGraphicFramePr>
        <p:xfrm>
          <a:off x="366712" y="962088"/>
          <a:ext cx="8382000" cy="5261926"/>
        </p:xfrm>
        <a:graphic>
          <a:graphicData uri="http://schemas.openxmlformats.org/drawingml/2006/table">
            <a:tbl>
              <a:tblPr firstRow="1" bandRow="1">
                <a:tableStyleId>{2D5ABB26-0587-4C30-8999-92F81FD0307C}</a:tableStyleId>
              </a:tblPr>
              <a:tblGrid>
                <a:gridCol w="1524000"/>
                <a:gridCol w="2590800"/>
                <a:gridCol w="4267200"/>
              </a:tblGrid>
              <a:tr h="381000">
                <a:tc>
                  <a:txBody>
                    <a:bodyPr/>
                    <a:lstStyle/>
                    <a:p>
                      <a:pPr marL="76835">
                        <a:lnSpc>
                          <a:spcPct val="100000"/>
                        </a:lnSpc>
                        <a:spcBef>
                          <a:spcPts val="200"/>
                        </a:spcBef>
                      </a:pPr>
                      <a:r>
                        <a:rPr sz="1800" b="1" spc="-5" dirty="0">
                          <a:latin typeface="Arial"/>
                          <a:cs typeface="Arial"/>
                        </a:rPr>
                        <a:t>Org</a:t>
                      </a:r>
                      <a:r>
                        <a:rPr sz="1800" b="1" spc="395" dirty="0">
                          <a:latin typeface="Arial"/>
                          <a:cs typeface="Arial"/>
                        </a:rPr>
                        <a:t> </a:t>
                      </a:r>
                      <a:r>
                        <a:rPr sz="1800" b="1" dirty="0">
                          <a:latin typeface="Arial"/>
                          <a:cs typeface="Arial"/>
                        </a:rPr>
                        <a:t>Units</a:t>
                      </a:r>
                      <a:endParaRPr sz="1800" dirty="0">
                        <a:latin typeface="Arial"/>
                        <a:cs typeface="Arial"/>
                      </a:endParaRPr>
                    </a:p>
                  </a:txBody>
                  <a:tcPr marL="0" marR="0" marT="0" marB="0">
                    <a:lnL w="28575">
                      <a:solidFill>
                        <a:srgbClr val="000000"/>
                      </a:solidFill>
                      <a:prstDash val="solid"/>
                    </a:lnL>
                    <a:lnR w="12700">
                      <a:solidFill>
                        <a:srgbClr val="000000"/>
                      </a:solidFill>
                      <a:prstDash val="solid"/>
                    </a:lnR>
                    <a:lnT w="28575">
                      <a:solidFill>
                        <a:srgbClr val="000000"/>
                      </a:solidFill>
                      <a:prstDash val="solid"/>
                    </a:lnT>
                    <a:lnB w="12700">
                      <a:solidFill>
                        <a:srgbClr val="000000"/>
                      </a:solidFill>
                      <a:prstDash val="solid"/>
                    </a:lnB>
                    <a:solidFill>
                      <a:srgbClr val="FFFFCC"/>
                    </a:solidFill>
                  </a:tcPr>
                </a:tc>
                <a:tc>
                  <a:txBody>
                    <a:bodyPr/>
                    <a:lstStyle/>
                    <a:p>
                      <a:pPr marL="85090">
                        <a:lnSpc>
                          <a:spcPct val="100000"/>
                        </a:lnSpc>
                        <a:spcBef>
                          <a:spcPts val="200"/>
                        </a:spcBef>
                      </a:pPr>
                      <a:r>
                        <a:rPr sz="1800" b="1" spc="-10" dirty="0">
                          <a:latin typeface="Arial"/>
                          <a:cs typeface="Arial"/>
                        </a:rPr>
                        <a:t>Attributes</a:t>
                      </a:r>
                      <a:endParaRPr sz="1800">
                        <a:latin typeface="Arial"/>
                        <a:cs typeface="Arial"/>
                      </a:endParaRPr>
                    </a:p>
                  </a:txBody>
                  <a:tcPr marL="0" marR="0" marT="0" marB="0">
                    <a:lnL w="12700">
                      <a:solidFill>
                        <a:srgbClr val="000000"/>
                      </a:solidFill>
                      <a:prstDash val="solid"/>
                    </a:lnL>
                    <a:lnR w="12700">
                      <a:solidFill>
                        <a:srgbClr val="000000"/>
                      </a:solidFill>
                      <a:prstDash val="solid"/>
                    </a:lnR>
                    <a:lnT w="28575">
                      <a:solidFill>
                        <a:srgbClr val="000000"/>
                      </a:solidFill>
                      <a:prstDash val="solid"/>
                    </a:lnT>
                    <a:lnB w="12700">
                      <a:solidFill>
                        <a:srgbClr val="000000"/>
                      </a:solidFill>
                      <a:prstDash val="solid"/>
                    </a:lnB>
                    <a:solidFill>
                      <a:srgbClr val="F1FFEB"/>
                    </a:solidFill>
                  </a:tcPr>
                </a:tc>
                <a:tc>
                  <a:txBody>
                    <a:bodyPr/>
                    <a:lstStyle/>
                    <a:p>
                      <a:pPr marL="85725">
                        <a:lnSpc>
                          <a:spcPct val="100000"/>
                        </a:lnSpc>
                        <a:spcBef>
                          <a:spcPts val="200"/>
                        </a:spcBef>
                      </a:pPr>
                      <a:r>
                        <a:rPr sz="1800" b="1" spc="-5" dirty="0">
                          <a:latin typeface="Arial"/>
                          <a:cs typeface="Arial"/>
                        </a:rPr>
                        <a:t>Application</a:t>
                      </a:r>
                      <a:endParaRPr sz="1800">
                        <a:latin typeface="Arial"/>
                        <a:cs typeface="Arial"/>
                      </a:endParaRPr>
                    </a:p>
                  </a:txBody>
                  <a:tcPr marL="0" marR="0" marT="0" marB="0">
                    <a:lnL w="12700">
                      <a:solidFill>
                        <a:srgbClr val="000000"/>
                      </a:solidFill>
                      <a:prstDash val="solid"/>
                    </a:lnL>
                    <a:lnR w="28575">
                      <a:solidFill>
                        <a:srgbClr val="000000"/>
                      </a:solidFill>
                      <a:prstDash val="solid"/>
                    </a:lnR>
                    <a:lnT w="28575">
                      <a:solidFill>
                        <a:srgbClr val="000000"/>
                      </a:solidFill>
                      <a:prstDash val="solid"/>
                    </a:lnT>
                    <a:lnB w="12700">
                      <a:solidFill>
                        <a:srgbClr val="000000"/>
                      </a:solidFill>
                      <a:prstDash val="solid"/>
                    </a:lnB>
                    <a:solidFill>
                      <a:srgbClr val="CCCCFF"/>
                    </a:solidFill>
                  </a:tcPr>
                </a:tc>
              </a:tr>
              <a:tr h="1213103">
                <a:tc>
                  <a:txBody>
                    <a:bodyPr/>
                    <a:lstStyle/>
                    <a:p>
                      <a:pPr marL="76835" marR="125095">
                        <a:lnSpc>
                          <a:spcPct val="100000"/>
                        </a:lnSpc>
                        <a:spcBef>
                          <a:spcPts val="260"/>
                        </a:spcBef>
                      </a:pPr>
                      <a:r>
                        <a:rPr sz="1800" spc="-5" dirty="0">
                          <a:latin typeface="Arial"/>
                          <a:cs typeface="Arial"/>
                        </a:rPr>
                        <a:t>Sales  </a:t>
                      </a:r>
                      <a:r>
                        <a:rPr sz="1800" dirty="0">
                          <a:latin typeface="Arial"/>
                          <a:cs typeface="Arial"/>
                        </a:rPr>
                        <a:t>Org</a:t>
                      </a:r>
                      <a:r>
                        <a:rPr sz="1800" spc="-10" dirty="0">
                          <a:latin typeface="Arial"/>
                          <a:cs typeface="Arial"/>
                        </a:rPr>
                        <a:t>a</a:t>
                      </a:r>
                      <a:r>
                        <a:rPr sz="1800" dirty="0">
                          <a:latin typeface="Arial"/>
                          <a:cs typeface="Arial"/>
                        </a:rPr>
                        <a:t>n</a:t>
                      </a:r>
                      <a:r>
                        <a:rPr sz="1800" spc="-10" dirty="0">
                          <a:latin typeface="Arial"/>
                          <a:cs typeface="Arial"/>
                        </a:rPr>
                        <a:t>i</a:t>
                      </a:r>
                      <a:r>
                        <a:rPr sz="1800" dirty="0">
                          <a:latin typeface="Arial"/>
                          <a:cs typeface="Arial"/>
                        </a:rPr>
                        <a:t>zati</a:t>
                      </a:r>
                      <a:r>
                        <a:rPr sz="1800" spc="-10" dirty="0">
                          <a:latin typeface="Arial"/>
                          <a:cs typeface="Arial"/>
                        </a:rPr>
                        <a:t>o</a:t>
                      </a:r>
                      <a:r>
                        <a:rPr sz="1800" dirty="0">
                          <a:latin typeface="Arial"/>
                          <a:cs typeface="Arial"/>
                        </a:rPr>
                        <a:t>n</a:t>
                      </a: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CC"/>
                    </a:solidFill>
                  </a:tcPr>
                </a:tc>
                <a:tc>
                  <a:txBody>
                    <a:bodyPr/>
                    <a:lstStyle/>
                    <a:p>
                      <a:pPr marL="370840" indent="-285750">
                        <a:lnSpc>
                          <a:spcPct val="100000"/>
                        </a:lnSpc>
                        <a:spcBef>
                          <a:spcPts val="270"/>
                        </a:spcBef>
                        <a:buClr>
                          <a:srgbClr val="00B0F0"/>
                        </a:buClr>
                        <a:buFont typeface="Wingdings" panose="05000000000000000000" pitchFamily="2" charset="2"/>
                        <a:buChar char="§"/>
                        <a:tabLst>
                          <a:tab pos="196850" algn="l"/>
                        </a:tabLst>
                      </a:pPr>
                      <a:r>
                        <a:rPr sz="1600" spc="-5" dirty="0">
                          <a:latin typeface="Arial"/>
                          <a:cs typeface="Arial"/>
                        </a:rPr>
                        <a:t>Name and</a:t>
                      </a:r>
                      <a:r>
                        <a:rPr sz="1600" spc="-145" dirty="0">
                          <a:latin typeface="Arial"/>
                          <a:cs typeface="Arial"/>
                        </a:rPr>
                        <a:t> </a:t>
                      </a:r>
                      <a:r>
                        <a:rPr sz="1600" spc="-5" dirty="0">
                          <a:latin typeface="Arial"/>
                          <a:cs typeface="Arial"/>
                        </a:rPr>
                        <a:t>Address</a:t>
                      </a:r>
                      <a:endParaRPr sz="1600" dirty="0">
                        <a:latin typeface="Arial"/>
                        <a:cs typeface="Arial"/>
                      </a:endParaRPr>
                    </a:p>
                    <a:p>
                      <a:pPr marL="370840" indent="-285750">
                        <a:lnSpc>
                          <a:spcPct val="100000"/>
                        </a:lnSpc>
                        <a:spcBef>
                          <a:spcPts val="384"/>
                        </a:spcBef>
                        <a:buClr>
                          <a:srgbClr val="00B0F0"/>
                        </a:buClr>
                        <a:buFont typeface="Wingdings" panose="05000000000000000000" pitchFamily="2" charset="2"/>
                        <a:buChar char="§"/>
                        <a:tabLst>
                          <a:tab pos="196850" algn="l"/>
                        </a:tabLst>
                      </a:pPr>
                      <a:r>
                        <a:rPr sz="1600" spc="-5" dirty="0">
                          <a:latin typeface="Arial"/>
                          <a:cs typeface="Arial"/>
                        </a:rPr>
                        <a:t>Language and</a:t>
                      </a:r>
                      <a:r>
                        <a:rPr sz="1600" spc="-55" dirty="0">
                          <a:latin typeface="Arial"/>
                          <a:cs typeface="Arial"/>
                        </a:rPr>
                        <a:t> </a:t>
                      </a:r>
                      <a:r>
                        <a:rPr sz="1600" spc="-5" dirty="0">
                          <a:latin typeface="Arial"/>
                          <a:cs typeface="Arial"/>
                        </a:rPr>
                        <a:t>Currency</a:t>
                      </a:r>
                      <a:endParaRPr sz="1600" dirty="0">
                        <a:latin typeface="Arial"/>
                        <a:cs typeface="Arial"/>
                      </a:endParaRPr>
                    </a:p>
                    <a:p>
                      <a:pPr marL="370840" indent="-285750">
                        <a:lnSpc>
                          <a:spcPct val="100000"/>
                        </a:lnSpc>
                        <a:spcBef>
                          <a:spcPts val="385"/>
                        </a:spcBef>
                        <a:buClr>
                          <a:srgbClr val="00B0F0"/>
                        </a:buClr>
                        <a:buFont typeface="Wingdings" panose="05000000000000000000" pitchFamily="2" charset="2"/>
                        <a:buChar char="§"/>
                        <a:tabLst>
                          <a:tab pos="196850" algn="l"/>
                        </a:tabLst>
                      </a:pPr>
                      <a:r>
                        <a:rPr sz="1600" spc="-5" dirty="0">
                          <a:latin typeface="Arial"/>
                          <a:cs typeface="Arial"/>
                        </a:rPr>
                        <a:t>Factory</a:t>
                      </a:r>
                      <a:r>
                        <a:rPr sz="1600" spc="-50" dirty="0">
                          <a:latin typeface="Arial"/>
                          <a:cs typeface="Arial"/>
                        </a:rPr>
                        <a:t> </a:t>
                      </a:r>
                      <a:r>
                        <a:rPr sz="1600" spc="-5" dirty="0">
                          <a:latin typeface="Arial"/>
                          <a:cs typeface="Arial"/>
                        </a:rPr>
                        <a:t>Calendar</a:t>
                      </a:r>
                      <a:endParaRPr sz="1600" dirty="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1FFEB"/>
                    </a:solidFill>
                  </a:tcPr>
                </a:tc>
                <a:tc>
                  <a:txBody>
                    <a:bodyPr/>
                    <a:lstStyle/>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Rebate </a:t>
                      </a:r>
                      <a:r>
                        <a:rPr sz="1600" spc="-5" dirty="0" smtClean="0">
                          <a:solidFill>
                            <a:schemeClr val="tx1"/>
                          </a:solidFill>
                          <a:latin typeface="Arial"/>
                          <a:ea typeface="+mn-ea"/>
                          <a:cs typeface="Arial"/>
                        </a:rPr>
                        <a:t>Processing</a:t>
                      </a:r>
                      <a:r>
                        <a:rPr lang="en-US" sz="1600" spc="-5" dirty="0" smtClean="0">
                          <a:solidFill>
                            <a:schemeClr val="tx1"/>
                          </a:solidFill>
                          <a:latin typeface="Arial"/>
                          <a:ea typeface="+mn-ea"/>
                          <a:cs typeface="Arial"/>
                        </a:rPr>
                        <a:t> </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smtClean="0">
                          <a:solidFill>
                            <a:schemeClr val="tx1"/>
                          </a:solidFill>
                          <a:latin typeface="Arial"/>
                          <a:ea typeface="+mn-ea"/>
                          <a:cs typeface="Arial"/>
                        </a:rPr>
                        <a:t>Intercom</a:t>
                      </a:r>
                      <a:r>
                        <a:rPr lang="en-US" sz="1600" spc="-5" dirty="0" smtClean="0">
                          <a:solidFill>
                            <a:schemeClr val="tx1"/>
                          </a:solidFill>
                          <a:latin typeface="Arial"/>
                          <a:ea typeface="+mn-ea"/>
                          <a:cs typeface="Arial"/>
                        </a:rPr>
                        <a:t>p</a:t>
                      </a:r>
                      <a:r>
                        <a:rPr sz="1600" spc="-5" dirty="0" smtClean="0">
                          <a:solidFill>
                            <a:schemeClr val="tx1"/>
                          </a:solidFill>
                          <a:latin typeface="Arial"/>
                          <a:ea typeface="+mn-ea"/>
                          <a:cs typeface="Arial"/>
                        </a:rPr>
                        <a:t>any </a:t>
                      </a:r>
                      <a:r>
                        <a:rPr sz="1600" spc="-5" dirty="0">
                          <a:solidFill>
                            <a:schemeClr val="tx1"/>
                          </a:solidFill>
                          <a:latin typeface="Arial"/>
                          <a:ea typeface="+mn-ea"/>
                          <a:cs typeface="Arial"/>
                        </a:rPr>
                        <a:t>Sales</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Account Determination</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User Level Authorization</a:t>
                      </a: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solidFill>
                      <a:srgbClr val="CCCCFF"/>
                    </a:solidFill>
                  </a:tcPr>
                </a:tc>
              </a:tr>
              <a:tr h="1166749">
                <a:tc>
                  <a:txBody>
                    <a:bodyPr/>
                    <a:lstStyle/>
                    <a:p>
                      <a:pPr marL="76835" marR="276860">
                        <a:lnSpc>
                          <a:spcPct val="100000"/>
                        </a:lnSpc>
                        <a:spcBef>
                          <a:spcPts val="265"/>
                        </a:spcBef>
                      </a:pPr>
                      <a:r>
                        <a:rPr sz="1800" dirty="0">
                          <a:latin typeface="Arial"/>
                          <a:cs typeface="Arial"/>
                        </a:rPr>
                        <a:t>D</a:t>
                      </a:r>
                      <a:r>
                        <a:rPr sz="1800" spc="-10" dirty="0">
                          <a:latin typeface="Arial"/>
                          <a:cs typeface="Arial"/>
                        </a:rPr>
                        <a:t>i</a:t>
                      </a:r>
                      <a:r>
                        <a:rPr sz="1800" dirty="0">
                          <a:latin typeface="Arial"/>
                          <a:cs typeface="Arial"/>
                        </a:rPr>
                        <a:t>strib</a:t>
                      </a:r>
                      <a:r>
                        <a:rPr sz="1800" spc="-10" dirty="0">
                          <a:latin typeface="Arial"/>
                          <a:cs typeface="Arial"/>
                        </a:rPr>
                        <a:t>u</a:t>
                      </a:r>
                      <a:r>
                        <a:rPr sz="1800" dirty="0">
                          <a:latin typeface="Arial"/>
                          <a:cs typeface="Arial"/>
                        </a:rPr>
                        <a:t>tion  </a:t>
                      </a:r>
                      <a:r>
                        <a:rPr sz="1800" spc="-5" dirty="0">
                          <a:latin typeface="Arial"/>
                          <a:cs typeface="Arial"/>
                        </a:rPr>
                        <a:t>Channel</a:t>
                      </a:r>
                      <a:endParaRPr sz="1800">
                        <a:latin typeface="Arial"/>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CC"/>
                    </a:solidFill>
                  </a:tcPr>
                </a:tc>
                <a:tc>
                  <a:txBody>
                    <a:bodyPr/>
                    <a:lstStyle/>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Name</a:t>
                      </a: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1FFEB"/>
                    </a:solidFill>
                  </a:tcPr>
                </a:tc>
                <a:tc>
                  <a:txBody>
                    <a:bodyPr/>
                    <a:lstStyle/>
                    <a:p>
                      <a:pPr marL="370840" marR="78105"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Controls Material Master Sales View ( along  with Sales Org)</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Other master data such as Conditions</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User Level Authorization</a:t>
                      </a: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solidFill>
                      <a:srgbClr val="CCCCFF"/>
                    </a:solidFill>
                  </a:tcPr>
                </a:tc>
              </a:tr>
              <a:tr h="995426">
                <a:tc>
                  <a:txBody>
                    <a:bodyPr/>
                    <a:lstStyle/>
                    <a:p>
                      <a:pPr marL="76835">
                        <a:lnSpc>
                          <a:spcPct val="100000"/>
                        </a:lnSpc>
                        <a:spcBef>
                          <a:spcPts val="270"/>
                        </a:spcBef>
                      </a:pPr>
                      <a:r>
                        <a:rPr sz="1800" spc="-5" dirty="0">
                          <a:latin typeface="Arial"/>
                          <a:cs typeface="Arial"/>
                        </a:rPr>
                        <a:t>Division</a:t>
                      </a:r>
                      <a:endParaRPr sz="1800">
                        <a:latin typeface="Arial"/>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CC"/>
                    </a:solidFill>
                  </a:tcPr>
                </a:tc>
                <a:tc>
                  <a:txBody>
                    <a:bodyPr/>
                    <a:lstStyle/>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Name</a:t>
                      </a: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1FFEB"/>
                    </a:solidFill>
                  </a:tcPr>
                </a:tc>
                <a:tc>
                  <a:txBody>
                    <a:bodyPr/>
                    <a:lstStyle/>
                    <a:p>
                      <a:pPr marL="370840" marR="32385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Master Data creation such as Customer &amp;  Conditions</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A Material belongs to exactly one Division</a:t>
                      </a: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solidFill>
                      <a:srgbClr val="CCCCFF"/>
                    </a:solidFill>
                  </a:tcPr>
                </a:tc>
              </a:tr>
              <a:tr h="1505648">
                <a:tc>
                  <a:txBody>
                    <a:bodyPr/>
                    <a:lstStyle/>
                    <a:p>
                      <a:pPr marL="76835">
                        <a:lnSpc>
                          <a:spcPct val="100000"/>
                        </a:lnSpc>
                        <a:spcBef>
                          <a:spcPts val="265"/>
                        </a:spcBef>
                      </a:pPr>
                      <a:r>
                        <a:rPr sz="1800" spc="-5" dirty="0">
                          <a:latin typeface="Arial"/>
                          <a:cs typeface="Arial"/>
                        </a:rPr>
                        <a:t>Sales</a:t>
                      </a:r>
                      <a:r>
                        <a:rPr sz="1800" spc="-185" dirty="0">
                          <a:latin typeface="Arial"/>
                          <a:cs typeface="Arial"/>
                        </a:rPr>
                        <a:t> </a:t>
                      </a:r>
                      <a:r>
                        <a:rPr sz="1800" spc="-5" dirty="0">
                          <a:latin typeface="Arial"/>
                          <a:cs typeface="Arial"/>
                        </a:rPr>
                        <a:t>Area</a:t>
                      </a:r>
                      <a:endParaRPr sz="1800">
                        <a:latin typeface="Arial"/>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28575">
                      <a:solidFill>
                        <a:srgbClr val="000000"/>
                      </a:solidFill>
                      <a:prstDash val="solid"/>
                    </a:lnB>
                    <a:solidFill>
                      <a:srgbClr val="FFFFCC"/>
                    </a:solidFill>
                  </a:tcPr>
                </a:tc>
                <a:tc>
                  <a:txBody>
                    <a:bodyPr/>
                    <a:lstStyle/>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Assignment Only</a:t>
                      </a: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28575">
                      <a:solidFill>
                        <a:srgbClr val="000000"/>
                      </a:solidFill>
                      <a:prstDash val="solid"/>
                    </a:lnB>
                    <a:solidFill>
                      <a:srgbClr val="F1FFEB"/>
                    </a:solidFill>
                  </a:tcPr>
                </a:tc>
                <a:tc>
                  <a:txBody>
                    <a:bodyPr/>
                    <a:lstStyle/>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Pricing</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Free Goods</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Output Determination</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Partner Determination</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Document Types</a:t>
                      </a: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28575">
                      <a:solidFill>
                        <a:srgbClr val="000000"/>
                      </a:solidFill>
                      <a:prstDash val="solid"/>
                    </a:lnB>
                    <a:solidFill>
                      <a:srgbClr val="CCCCFF"/>
                    </a:solidFill>
                  </a:tcPr>
                </a:tc>
              </a:tr>
            </a:tbl>
          </a:graphicData>
        </a:graphic>
      </p:graphicFrame>
      <p:sp>
        <p:nvSpPr>
          <p:cNvPr id="5" name="object 5"/>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44</a:t>
            </a:fld>
            <a:endParaRPr sz="1200">
              <a:latin typeface="Symbol"/>
              <a:cs typeface="Symbol"/>
            </a:endParaRP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339648" y="193928"/>
            <a:ext cx="5840730" cy="492443"/>
          </a:xfrm>
          <a:prstGeom prst="rect">
            <a:avLst/>
          </a:prstGeom>
        </p:spPr>
        <p:txBody>
          <a:bodyPr vert="horz" wrap="square" lIns="0" tIns="0" rIns="0" bIns="0" rtlCol="0">
            <a:spAutoFit/>
          </a:bodyPr>
          <a:lstStyle/>
          <a:p>
            <a:r>
              <a:rPr dirty="0"/>
              <a:t>Attributes &amp; Application</a:t>
            </a:r>
          </a:p>
        </p:txBody>
      </p:sp>
      <p:sp>
        <p:nvSpPr>
          <p:cNvPr id="5" name="object 5"/>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45</a:t>
            </a:fld>
            <a:endParaRPr sz="1200">
              <a:latin typeface="Symbol"/>
              <a:cs typeface="Symbol"/>
            </a:endParaRPr>
          </a:p>
        </p:txBody>
      </p:sp>
      <p:graphicFrame>
        <p:nvGraphicFramePr>
          <p:cNvPr id="3" name="object 3"/>
          <p:cNvGraphicFramePr>
            <a:graphicFrameLocks noGrp="1"/>
          </p:cNvGraphicFramePr>
          <p:nvPr>
            <p:extLst>
              <p:ext uri="{D42A27DB-BD31-4B8C-83A1-F6EECF244321}">
                <p14:modId xmlns:p14="http://schemas.microsoft.com/office/powerpoint/2010/main" xmlns="" val="1334520156"/>
              </p:ext>
            </p:extLst>
          </p:nvPr>
        </p:nvGraphicFramePr>
        <p:xfrm>
          <a:off x="366712" y="900112"/>
          <a:ext cx="8382000" cy="5308282"/>
        </p:xfrm>
        <a:graphic>
          <a:graphicData uri="http://schemas.openxmlformats.org/drawingml/2006/table">
            <a:tbl>
              <a:tblPr firstRow="1" bandRow="1">
                <a:tableStyleId>{2D5ABB26-0587-4C30-8999-92F81FD0307C}</a:tableStyleId>
              </a:tblPr>
              <a:tblGrid>
                <a:gridCol w="1447800"/>
                <a:gridCol w="2590800"/>
                <a:gridCol w="4343400"/>
              </a:tblGrid>
              <a:tr h="381000">
                <a:tc>
                  <a:txBody>
                    <a:bodyPr/>
                    <a:lstStyle/>
                    <a:p>
                      <a:pPr marL="76835">
                        <a:lnSpc>
                          <a:spcPct val="100000"/>
                        </a:lnSpc>
                        <a:spcBef>
                          <a:spcPts val="200"/>
                        </a:spcBef>
                      </a:pPr>
                      <a:r>
                        <a:rPr sz="1800" b="1" spc="-5" dirty="0">
                          <a:latin typeface="Arial"/>
                          <a:cs typeface="Arial"/>
                        </a:rPr>
                        <a:t>Org</a:t>
                      </a:r>
                      <a:r>
                        <a:rPr sz="1800" b="1" spc="395" dirty="0">
                          <a:latin typeface="Arial"/>
                          <a:cs typeface="Arial"/>
                        </a:rPr>
                        <a:t> </a:t>
                      </a:r>
                      <a:r>
                        <a:rPr sz="1800" b="1" dirty="0">
                          <a:latin typeface="Arial"/>
                          <a:cs typeface="Arial"/>
                        </a:rPr>
                        <a:t>Units</a:t>
                      </a:r>
                      <a:endParaRPr sz="1800" dirty="0">
                        <a:latin typeface="Arial"/>
                        <a:cs typeface="Arial"/>
                      </a:endParaRPr>
                    </a:p>
                  </a:txBody>
                  <a:tcPr marL="0" marR="0" marT="0" marB="0">
                    <a:lnL w="28575">
                      <a:solidFill>
                        <a:srgbClr val="000000"/>
                      </a:solidFill>
                      <a:prstDash val="solid"/>
                    </a:lnL>
                    <a:lnR w="12700">
                      <a:solidFill>
                        <a:srgbClr val="000000"/>
                      </a:solidFill>
                      <a:prstDash val="solid"/>
                    </a:lnR>
                    <a:lnT w="28575">
                      <a:solidFill>
                        <a:srgbClr val="000000"/>
                      </a:solidFill>
                      <a:prstDash val="solid"/>
                    </a:lnT>
                    <a:lnB w="12700">
                      <a:solidFill>
                        <a:srgbClr val="000000"/>
                      </a:solidFill>
                      <a:prstDash val="solid"/>
                    </a:lnB>
                    <a:solidFill>
                      <a:srgbClr val="FFFFCC"/>
                    </a:solidFill>
                  </a:tcPr>
                </a:tc>
                <a:tc>
                  <a:txBody>
                    <a:bodyPr/>
                    <a:lstStyle/>
                    <a:p>
                      <a:pPr marL="85090">
                        <a:lnSpc>
                          <a:spcPct val="100000"/>
                        </a:lnSpc>
                        <a:spcBef>
                          <a:spcPts val="200"/>
                        </a:spcBef>
                      </a:pPr>
                      <a:r>
                        <a:rPr sz="1800" b="1" spc="-10" dirty="0">
                          <a:latin typeface="Arial"/>
                          <a:cs typeface="Arial"/>
                        </a:rPr>
                        <a:t>Attributes</a:t>
                      </a:r>
                      <a:endParaRPr sz="1800">
                        <a:latin typeface="Arial"/>
                        <a:cs typeface="Arial"/>
                      </a:endParaRPr>
                    </a:p>
                  </a:txBody>
                  <a:tcPr marL="0" marR="0" marT="0" marB="0">
                    <a:lnL w="12700">
                      <a:solidFill>
                        <a:srgbClr val="000000"/>
                      </a:solidFill>
                      <a:prstDash val="solid"/>
                    </a:lnL>
                    <a:lnR w="12700">
                      <a:solidFill>
                        <a:srgbClr val="000000"/>
                      </a:solidFill>
                      <a:prstDash val="solid"/>
                    </a:lnR>
                    <a:lnT w="28575">
                      <a:solidFill>
                        <a:srgbClr val="000000"/>
                      </a:solidFill>
                      <a:prstDash val="solid"/>
                    </a:lnT>
                    <a:lnB w="12700">
                      <a:solidFill>
                        <a:srgbClr val="000000"/>
                      </a:solidFill>
                      <a:prstDash val="solid"/>
                    </a:lnB>
                    <a:solidFill>
                      <a:srgbClr val="F1FFEB"/>
                    </a:solidFill>
                  </a:tcPr>
                </a:tc>
                <a:tc>
                  <a:txBody>
                    <a:bodyPr/>
                    <a:lstStyle/>
                    <a:p>
                      <a:pPr marL="85725">
                        <a:lnSpc>
                          <a:spcPct val="100000"/>
                        </a:lnSpc>
                        <a:spcBef>
                          <a:spcPts val="200"/>
                        </a:spcBef>
                      </a:pPr>
                      <a:r>
                        <a:rPr sz="1800" b="1" spc="-5" dirty="0">
                          <a:latin typeface="Arial"/>
                          <a:cs typeface="Arial"/>
                        </a:rPr>
                        <a:t>Application</a:t>
                      </a:r>
                      <a:endParaRPr sz="1800">
                        <a:latin typeface="Arial"/>
                        <a:cs typeface="Arial"/>
                      </a:endParaRPr>
                    </a:p>
                  </a:txBody>
                  <a:tcPr marL="0" marR="0" marT="0" marB="0">
                    <a:lnL w="12700">
                      <a:solidFill>
                        <a:srgbClr val="000000"/>
                      </a:solidFill>
                      <a:prstDash val="solid"/>
                    </a:lnL>
                    <a:lnR w="28575">
                      <a:solidFill>
                        <a:srgbClr val="000000"/>
                      </a:solidFill>
                      <a:prstDash val="solid"/>
                    </a:lnR>
                    <a:lnT w="28575">
                      <a:solidFill>
                        <a:srgbClr val="000000"/>
                      </a:solidFill>
                      <a:prstDash val="solid"/>
                    </a:lnT>
                    <a:lnB w="12700">
                      <a:solidFill>
                        <a:srgbClr val="000000"/>
                      </a:solidFill>
                      <a:prstDash val="solid"/>
                    </a:lnB>
                    <a:solidFill>
                      <a:srgbClr val="CCCCFF"/>
                    </a:solidFill>
                  </a:tcPr>
                </a:tc>
              </a:tr>
              <a:tr h="1505712">
                <a:tc>
                  <a:txBody>
                    <a:bodyPr/>
                    <a:lstStyle/>
                    <a:p>
                      <a:pPr marL="76835" marR="366395">
                        <a:lnSpc>
                          <a:spcPct val="100000"/>
                        </a:lnSpc>
                        <a:spcBef>
                          <a:spcPts val="265"/>
                        </a:spcBef>
                      </a:pPr>
                      <a:r>
                        <a:rPr sz="1800" dirty="0">
                          <a:latin typeface="Arial"/>
                          <a:cs typeface="Arial"/>
                        </a:rPr>
                        <a:t>C</a:t>
                      </a:r>
                      <a:r>
                        <a:rPr sz="1800" spc="-10" dirty="0">
                          <a:latin typeface="Arial"/>
                          <a:cs typeface="Arial"/>
                        </a:rPr>
                        <a:t>o</a:t>
                      </a:r>
                      <a:r>
                        <a:rPr sz="1800" dirty="0">
                          <a:latin typeface="Arial"/>
                          <a:cs typeface="Arial"/>
                        </a:rPr>
                        <a:t>mp</a:t>
                      </a:r>
                      <a:r>
                        <a:rPr sz="1800" spc="-10" dirty="0">
                          <a:latin typeface="Arial"/>
                          <a:cs typeface="Arial"/>
                        </a:rPr>
                        <a:t>a</a:t>
                      </a:r>
                      <a:r>
                        <a:rPr sz="1800" dirty="0">
                          <a:latin typeface="Arial"/>
                          <a:cs typeface="Arial"/>
                        </a:rPr>
                        <a:t>ny  </a:t>
                      </a:r>
                      <a:r>
                        <a:rPr sz="1800" spc="-5" dirty="0">
                          <a:latin typeface="Arial"/>
                          <a:cs typeface="Arial"/>
                        </a:rPr>
                        <a:t>Code</a:t>
                      </a:r>
                      <a:endParaRPr sz="1800">
                        <a:latin typeface="Arial"/>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CC"/>
                    </a:solidFill>
                  </a:tcPr>
                </a:tc>
                <a:tc>
                  <a:txBody>
                    <a:bodyPr/>
                    <a:lstStyle/>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Name and Address</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Language and Currency</a:t>
                      </a: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1FFEB"/>
                    </a:solidFill>
                  </a:tcPr>
                </a:tc>
                <a:tc>
                  <a:txBody>
                    <a:bodyPr/>
                    <a:lstStyle/>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Balance Sheet &amp; Profit &amp; Loss statement.</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Transfers financial Information to Controlling</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Revenue Accounting</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Credit Policies</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User Level Authorization</a:t>
                      </a: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solidFill>
                      <a:srgbClr val="CCCCFF"/>
                    </a:solidFill>
                  </a:tcPr>
                </a:tc>
              </a:tr>
              <a:tr h="1213104">
                <a:tc>
                  <a:txBody>
                    <a:bodyPr/>
                    <a:lstStyle/>
                    <a:p>
                      <a:pPr marL="76835">
                        <a:lnSpc>
                          <a:spcPct val="100000"/>
                        </a:lnSpc>
                        <a:spcBef>
                          <a:spcPts val="265"/>
                        </a:spcBef>
                      </a:pPr>
                      <a:r>
                        <a:rPr sz="1800" spc="-5" dirty="0">
                          <a:latin typeface="Arial"/>
                          <a:cs typeface="Arial"/>
                        </a:rPr>
                        <a:t>Plant</a:t>
                      </a:r>
                      <a:endParaRPr sz="1800">
                        <a:latin typeface="Arial"/>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CC"/>
                    </a:solidFill>
                  </a:tcPr>
                </a:tc>
                <a:tc>
                  <a:txBody>
                    <a:bodyPr/>
                    <a:lstStyle/>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Name and Address</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Language and Currency</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Factory Calendar</a:t>
                      </a: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1FFEB"/>
                    </a:solidFill>
                  </a:tcPr>
                </a:tc>
                <a:tc>
                  <a:txBody>
                    <a:bodyPr/>
                    <a:lstStyle/>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Taxation</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Inter-company Sales</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Master data maintenance</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User Level Authorization</a:t>
                      </a: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solidFill>
                      <a:srgbClr val="CCCCFF"/>
                    </a:solidFill>
                  </a:tcPr>
                </a:tc>
              </a:tr>
              <a:tr h="995426">
                <a:tc>
                  <a:txBody>
                    <a:bodyPr/>
                    <a:lstStyle/>
                    <a:p>
                      <a:pPr marL="76835" marR="480059">
                        <a:lnSpc>
                          <a:spcPct val="100000"/>
                        </a:lnSpc>
                        <a:spcBef>
                          <a:spcPts val="270"/>
                        </a:spcBef>
                      </a:pPr>
                      <a:r>
                        <a:rPr sz="1800" spc="-5" dirty="0">
                          <a:latin typeface="Arial"/>
                          <a:cs typeface="Arial"/>
                        </a:rPr>
                        <a:t>Storage  </a:t>
                      </a:r>
                      <a:r>
                        <a:rPr sz="1800" dirty="0">
                          <a:latin typeface="Arial"/>
                          <a:cs typeface="Arial"/>
                        </a:rPr>
                        <a:t>L</a:t>
                      </a:r>
                      <a:r>
                        <a:rPr sz="1800" spc="-10" dirty="0">
                          <a:latin typeface="Arial"/>
                          <a:cs typeface="Arial"/>
                        </a:rPr>
                        <a:t>o</a:t>
                      </a:r>
                      <a:r>
                        <a:rPr sz="1800" dirty="0">
                          <a:latin typeface="Arial"/>
                          <a:cs typeface="Arial"/>
                        </a:rPr>
                        <a:t>cati</a:t>
                      </a:r>
                      <a:r>
                        <a:rPr sz="1800" spc="-10" dirty="0">
                          <a:latin typeface="Arial"/>
                          <a:cs typeface="Arial"/>
                        </a:rPr>
                        <a:t>o</a:t>
                      </a:r>
                      <a:r>
                        <a:rPr sz="1800" dirty="0">
                          <a:latin typeface="Arial"/>
                          <a:cs typeface="Arial"/>
                        </a:rPr>
                        <a:t>n</a:t>
                      </a:r>
                      <a:endParaRPr sz="1800">
                        <a:latin typeface="Arial"/>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CC"/>
                    </a:solidFill>
                  </a:tcPr>
                </a:tc>
                <a:tc>
                  <a:txBody>
                    <a:bodyPr/>
                    <a:lstStyle/>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Name and Address</a:t>
                      </a: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1FFEB"/>
                    </a:solidFill>
                  </a:tcPr>
                </a:tc>
                <a:tc>
                  <a:txBody>
                    <a:bodyPr/>
                    <a:lstStyle/>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Physical Inventory</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Delivery Processing</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Reporting</a:t>
                      </a: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solidFill>
                      <a:srgbClr val="CCCCFF"/>
                    </a:solidFill>
                  </a:tcPr>
                </a:tc>
              </a:tr>
              <a:tr h="1213040">
                <a:tc>
                  <a:txBody>
                    <a:bodyPr/>
                    <a:lstStyle/>
                    <a:p>
                      <a:pPr marL="76835" marR="455295">
                        <a:lnSpc>
                          <a:spcPct val="100000"/>
                        </a:lnSpc>
                        <a:spcBef>
                          <a:spcPts val="270"/>
                        </a:spcBef>
                      </a:pPr>
                      <a:r>
                        <a:rPr sz="1800" dirty="0">
                          <a:latin typeface="Arial"/>
                          <a:cs typeface="Arial"/>
                        </a:rPr>
                        <a:t>S</a:t>
                      </a:r>
                      <a:r>
                        <a:rPr sz="1800" spc="-10" dirty="0">
                          <a:latin typeface="Arial"/>
                          <a:cs typeface="Arial"/>
                        </a:rPr>
                        <a:t>h</a:t>
                      </a:r>
                      <a:r>
                        <a:rPr sz="1800" dirty="0">
                          <a:latin typeface="Arial"/>
                          <a:cs typeface="Arial"/>
                        </a:rPr>
                        <a:t>i</a:t>
                      </a:r>
                      <a:r>
                        <a:rPr sz="1800" spc="-10" dirty="0">
                          <a:latin typeface="Arial"/>
                          <a:cs typeface="Arial"/>
                        </a:rPr>
                        <a:t>p</a:t>
                      </a:r>
                      <a:r>
                        <a:rPr sz="1800" dirty="0">
                          <a:latin typeface="Arial"/>
                          <a:cs typeface="Arial"/>
                        </a:rPr>
                        <a:t>p</a:t>
                      </a:r>
                      <a:r>
                        <a:rPr sz="1800" spc="-10" dirty="0">
                          <a:latin typeface="Arial"/>
                          <a:cs typeface="Arial"/>
                        </a:rPr>
                        <a:t>i</a:t>
                      </a:r>
                      <a:r>
                        <a:rPr sz="1800" dirty="0">
                          <a:latin typeface="Arial"/>
                          <a:cs typeface="Arial"/>
                        </a:rPr>
                        <a:t>ng  </a:t>
                      </a:r>
                      <a:r>
                        <a:rPr sz="1800" spc="-5" dirty="0">
                          <a:latin typeface="Arial"/>
                          <a:cs typeface="Arial"/>
                        </a:rPr>
                        <a:t>Point</a:t>
                      </a:r>
                      <a:endParaRPr sz="1800">
                        <a:latin typeface="Arial"/>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28575">
                      <a:solidFill>
                        <a:srgbClr val="000000"/>
                      </a:solidFill>
                      <a:prstDash val="solid"/>
                    </a:lnB>
                    <a:solidFill>
                      <a:srgbClr val="FFFFCC"/>
                    </a:solidFill>
                  </a:tcPr>
                </a:tc>
                <a:tc>
                  <a:txBody>
                    <a:bodyPr/>
                    <a:lstStyle/>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smtClean="0">
                          <a:solidFill>
                            <a:schemeClr val="tx1"/>
                          </a:solidFill>
                          <a:latin typeface="Arial"/>
                          <a:ea typeface="+mn-ea"/>
                          <a:cs typeface="Arial"/>
                        </a:rPr>
                        <a:t>Name </a:t>
                      </a:r>
                      <a:r>
                        <a:rPr sz="1600" spc="-5" dirty="0">
                          <a:solidFill>
                            <a:schemeClr val="tx1"/>
                          </a:solidFill>
                          <a:latin typeface="Arial"/>
                          <a:ea typeface="+mn-ea"/>
                          <a:cs typeface="Arial"/>
                        </a:rPr>
                        <a:t>and Address</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smtClean="0">
                          <a:solidFill>
                            <a:schemeClr val="tx1"/>
                          </a:solidFill>
                          <a:latin typeface="Arial"/>
                          <a:ea typeface="+mn-ea"/>
                          <a:cs typeface="Arial"/>
                        </a:rPr>
                        <a:t>Factory </a:t>
                      </a:r>
                      <a:r>
                        <a:rPr sz="1600" spc="-5" dirty="0">
                          <a:solidFill>
                            <a:schemeClr val="tx1"/>
                          </a:solidFill>
                          <a:latin typeface="Arial"/>
                          <a:ea typeface="+mn-ea"/>
                          <a:cs typeface="Arial"/>
                        </a:rPr>
                        <a:t>Calendar</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smtClean="0">
                          <a:solidFill>
                            <a:schemeClr val="tx1"/>
                          </a:solidFill>
                          <a:latin typeface="Arial"/>
                          <a:ea typeface="+mn-ea"/>
                          <a:cs typeface="Arial"/>
                        </a:rPr>
                        <a:t>Working </a:t>
                      </a:r>
                      <a:r>
                        <a:rPr sz="1600" spc="-5" dirty="0">
                          <a:solidFill>
                            <a:schemeClr val="tx1"/>
                          </a:solidFill>
                          <a:latin typeface="Arial"/>
                          <a:ea typeface="+mn-ea"/>
                          <a:cs typeface="Arial"/>
                        </a:rPr>
                        <a:t>hours</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smtClean="0">
                          <a:solidFill>
                            <a:schemeClr val="tx1"/>
                          </a:solidFill>
                          <a:latin typeface="Arial"/>
                          <a:ea typeface="+mn-ea"/>
                          <a:cs typeface="Arial"/>
                        </a:rPr>
                        <a:t>Lead </a:t>
                      </a:r>
                      <a:r>
                        <a:rPr sz="1600" spc="-5" dirty="0">
                          <a:solidFill>
                            <a:schemeClr val="tx1"/>
                          </a:solidFill>
                          <a:latin typeface="Arial"/>
                          <a:ea typeface="+mn-ea"/>
                          <a:cs typeface="Arial"/>
                        </a:rPr>
                        <a:t>Time</a:t>
                      </a: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28575">
                      <a:solidFill>
                        <a:srgbClr val="000000"/>
                      </a:solidFill>
                      <a:prstDash val="solid"/>
                    </a:lnB>
                    <a:solidFill>
                      <a:srgbClr val="F1FFEB"/>
                    </a:solidFill>
                  </a:tcPr>
                </a:tc>
                <a:tc>
                  <a:txBody>
                    <a:bodyPr/>
                    <a:lstStyle/>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Delivery Processing</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Arial"/>
                          <a:ea typeface="+mn-ea"/>
                          <a:cs typeface="Arial"/>
                        </a:rPr>
                        <a:t>Transportation</a:t>
                      </a: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28575">
                      <a:solidFill>
                        <a:srgbClr val="000000"/>
                      </a:solidFill>
                      <a:prstDash val="solid"/>
                    </a:lnB>
                    <a:solidFill>
                      <a:srgbClr val="CCCCFF"/>
                    </a:solidFill>
                  </a:tcPr>
                </a:tc>
              </a:tr>
            </a:tbl>
          </a:graphicData>
        </a:graphic>
      </p:graphicFrame>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1623060" y="260604"/>
            <a:ext cx="886967"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152400" y="249231"/>
            <a:ext cx="9144000" cy="393954"/>
          </a:xfrm>
          <a:prstGeom prst="rect">
            <a:avLst/>
          </a:prstGeom>
        </p:spPr>
        <p:txBody>
          <a:bodyPr vert="horz" wrap="square" lIns="0" tIns="0" rIns="0" bIns="0" rtlCol="0">
            <a:spAutoFit/>
          </a:bodyPr>
          <a:lstStyle/>
          <a:p>
            <a:pPr marR="5080">
              <a:lnSpc>
                <a:spcPct val="80000"/>
              </a:lnSpc>
            </a:pPr>
            <a:r>
              <a:rPr dirty="0"/>
              <a:t>Transaction Codes</a:t>
            </a:r>
          </a:p>
        </p:txBody>
      </p:sp>
      <p:graphicFrame>
        <p:nvGraphicFramePr>
          <p:cNvPr id="5" name="object 5"/>
          <p:cNvGraphicFramePr>
            <a:graphicFrameLocks noGrp="1"/>
          </p:cNvGraphicFramePr>
          <p:nvPr>
            <p:extLst>
              <p:ext uri="{D42A27DB-BD31-4B8C-83A1-F6EECF244321}">
                <p14:modId xmlns:p14="http://schemas.microsoft.com/office/powerpoint/2010/main" xmlns="" val="2174169607"/>
              </p:ext>
            </p:extLst>
          </p:nvPr>
        </p:nvGraphicFramePr>
        <p:xfrm>
          <a:off x="457200" y="1600200"/>
          <a:ext cx="8153400" cy="4391655"/>
        </p:xfrm>
        <a:graphic>
          <a:graphicData uri="http://schemas.openxmlformats.org/drawingml/2006/table">
            <a:tbl>
              <a:tblPr firstRow="1" bandRow="1">
                <a:tableStyleId>{2D5ABB26-0587-4C30-8999-92F81FD0307C}</a:tableStyleId>
              </a:tblPr>
              <a:tblGrid>
                <a:gridCol w="1371600"/>
                <a:gridCol w="6781800"/>
              </a:tblGrid>
              <a:tr h="368300">
                <a:tc>
                  <a:txBody>
                    <a:bodyPr/>
                    <a:lstStyle/>
                    <a:p>
                      <a:pPr marL="76835">
                        <a:lnSpc>
                          <a:spcPct val="100000"/>
                        </a:lnSpc>
                        <a:spcBef>
                          <a:spcPts val="200"/>
                        </a:spcBef>
                      </a:pPr>
                      <a:r>
                        <a:rPr sz="1800" b="1" dirty="0">
                          <a:latin typeface="Arial"/>
                          <a:cs typeface="Arial"/>
                        </a:rPr>
                        <a:t>OVX5</a:t>
                      </a:r>
                      <a:endParaRPr sz="1800" dirty="0">
                        <a:latin typeface="Arial"/>
                        <a:cs typeface="Arial"/>
                      </a:endParaRPr>
                    </a:p>
                  </a:txBody>
                  <a:tcPr marL="0" marR="0" marT="0" marB="0">
                    <a:lnL w="28575">
                      <a:solidFill>
                        <a:srgbClr val="000000"/>
                      </a:solidFill>
                      <a:prstDash val="solid"/>
                    </a:lnL>
                    <a:lnR w="12700">
                      <a:solidFill>
                        <a:srgbClr val="000000"/>
                      </a:solidFill>
                      <a:prstDash val="solid"/>
                    </a:lnR>
                    <a:lnT w="28575">
                      <a:solidFill>
                        <a:srgbClr val="000000"/>
                      </a:solidFill>
                      <a:prstDash val="solid"/>
                    </a:lnT>
                    <a:lnB w="12700">
                      <a:solidFill>
                        <a:srgbClr val="000000"/>
                      </a:solidFill>
                      <a:prstDash val="solid"/>
                    </a:lnB>
                  </a:tcPr>
                </a:tc>
                <a:tc>
                  <a:txBody>
                    <a:bodyPr/>
                    <a:lstStyle/>
                    <a:p>
                      <a:pPr marL="85090">
                        <a:lnSpc>
                          <a:spcPct val="100000"/>
                        </a:lnSpc>
                        <a:spcBef>
                          <a:spcPts val="200"/>
                        </a:spcBef>
                      </a:pPr>
                      <a:r>
                        <a:rPr sz="1800" b="1" spc="-5" dirty="0">
                          <a:latin typeface="Arial"/>
                          <a:cs typeface="Arial"/>
                        </a:rPr>
                        <a:t>Define Sales</a:t>
                      </a:r>
                      <a:r>
                        <a:rPr sz="1800" b="1" spc="-70" dirty="0">
                          <a:latin typeface="Arial"/>
                          <a:cs typeface="Arial"/>
                        </a:rPr>
                        <a:t> </a:t>
                      </a:r>
                      <a:r>
                        <a:rPr sz="1800" b="1" dirty="0">
                          <a:latin typeface="Arial"/>
                          <a:cs typeface="Arial"/>
                        </a:rPr>
                        <a:t>Organization</a:t>
                      </a:r>
                      <a:endParaRPr sz="1800">
                        <a:latin typeface="Arial"/>
                        <a:cs typeface="Arial"/>
                      </a:endParaRPr>
                    </a:p>
                  </a:txBody>
                  <a:tcPr marL="0" marR="0" marT="0" marB="0">
                    <a:lnL w="12700">
                      <a:solidFill>
                        <a:srgbClr val="000000"/>
                      </a:solidFill>
                      <a:prstDash val="solid"/>
                    </a:lnL>
                    <a:lnR w="28575">
                      <a:solidFill>
                        <a:srgbClr val="000000"/>
                      </a:solidFill>
                      <a:prstDash val="solid"/>
                    </a:lnR>
                    <a:lnT w="28575">
                      <a:solidFill>
                        <a:srgbClr val="000000"/>
                      </a:solidFill>
                      <a:prstDash val="solid"/>
                    </a:lnT>
                    <a:lnB w="12700">
                      <a:solidFill>
                        <a:srgbClr val="000000"/>
                      </a:solidFill>
                      <a:prstDash val="solid"/>
                    </a:lnB>
                  </a:tcPr>
                </a:tc>
              </a:tr>
              <a:tr h="365760">
                <a:tc>
                  <a:txBody>
                    <a:bodyPr/>
                    <a:lstStyle/>
                    <a:p>
                      <a:pPr marL="76835">
                        <a:lnSpc>
                          <a:spcPct val="100000"/>
                        </a:lnSpc>
                        <a:spcBef>
                          <a:spcPts val="265"/>
                        </a:spcBef>
                      </a:pPr>
                      <a:r>
                        <a:rPr sz="1800" b="1" dirty="0">
                          <a:latin typeface="Arial"/>
                          <a:cs typeface="Arial"/>
                        </a:rPr>
                        <a:t>OVXI</a:t>
                      </a:r>
                      <a:endParaRPr sz="1800">
                        <a:latin typeface="Arial"/>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85090">
                        <a:lnSpc>
                          <a:spcPct val="100000"/>
                        </a:lnSpc>
                        <a:spcBef>
                          <a:spcPts val="265"/>
                        </a:spcBef>
                      </a:pPr>
                      <a:r>
                        <a:rPr sz="1800" b="1" spc="-5" dirty="0">
                          <a:latin typeface="Arial"/>
                          <a:cs typeface="Arial"/>
                        </a:rPr>
                        <a:t>Define Distributional</a:t>
                      </a:r>
                      <a:r>
                        <a:rPr sz="1800" b="1" spc="-25" dirty="0">
                          <a:latin typeface="Arial"/>
                          <a:cs typeface="Arial"/>
                        </a:rPr>
                        <a:t> </a:t>
                      </a:r>
                      <a:r>
                        <a:rPr sz="1800" b="1" spc="-5" dirty="0">
                          <a:latin typeface="Arial"/>
                          <a:cs typeface="Arial"/>
                        </a:rPr>
                        <a:t>Channel</a:t>
                      </a:r>
                      <a:endParaRPr sz="1800">
                        <a:latin typeface="Arial"/>
                        <a:cs typeface="Arial"/>
                      </a:endParaRP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tcPr>
                </a:tc>
              </a:tr>
              <a:tr h="365760">
                <a:tc>
                  <a:txBody>
                    <a:bodyPr/>
                    <a:lstStyle/>
                    <a:p>
                      <a:pPr marL="76835">
                        <a:lnSpc>
                          <a:spcPct val="100000"/>
                        </a:lnSpc>
                        <a:spcBef>
                          <a:spcPts val="265"/>
                        </a:spcBef>
                      </a:pPr>
                      <a:r>
                        <a:rPr sz="1800" b="1" dirty="0">
                          <a:latin typeface="Arial"/>
                          <a:cs typeface="Arial"/>
                        </a:rPr>
                        <a:t>OVXB</a:t>
                      </a:r>
                      <a:endParaRPr sz="1800">
                        <a:latin typeface="Arial"/>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85090">
                        <a:lnSpc>
                          <a:spcPct val="100000"/>
                        </a:lnSpc>
                        <a:spcBef>
                          <a:spcPts val="265"/>
                        </a:spcBef>
                      </a:pPr>
                      <a:r>
                        <a:rPr sz="1800" b="1" spc="-5" dirty="0">
                          <a:latin typeface="Arial"/>
                          <a:cs typeface="Arial"/>
                        </a:rPr>
                        <a:t>Define</a:t>
                      </a:r>
                      <a:r>
                        <a:rPr sz="1800" b="1" spc="-55" dirty="0">
                          <a:latin typeface="Arial"/>
                          <a:cs typeface="Arial"/>
                        </a:rPr>
                        <a:t> </a:t>
                      </a:r>
                      <a:r>
                        <a:rPr sz="1800" b="1" spc="-10" dirty="0">
                          <a:latin typeface="Arial"/>
                          <a:cs typeface="Arial"/>
                        </a:rPr>
                        <a:t>Division</a:t>
                      </a:r>
                      <a:endParaRPr sz="1800">
                        <a:latin typeface="Arial"/>
                        <a:cs typeface="Arial"/>
                      </a:endParaRP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tcPr>
                </a:tc>
              </a:tr>
              <a:tr h="365759">
                <a:tc>
                  <a:txBody>
                    <a:bodyPr/>
                    <a:lstStyle/>
                    <a:p>
                      <a:pPr marL="76835">
                        <a:lnSpc>
                          <a:spcPct val="100000"/>
                        </a:lnSpc>
                        <a:spcBef>
                          <a:spcPts val="265"/>
                        </a:spcBef>
                      </a:pPr>
                      <a:r>
                        <a:rPr sz="1800" b="1" dirty="0">
                          <a:latin typeface="Arial"/>
                          <a:cs typeface="Arial"/>
                        </a:rPr>
                        <a:t>OVX1</a:t>
                      </a:r>
                      <a:endParaRPr sz="1800">
                        <a:latin typeface="Arial"/>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85090">
                        <a:lnSpc>
                          <a:spcPct val="100000"/>
                        </a:lnSpc>
                        <a:spcBef>
                          <a:spcPts val="265"/>
                        </a:spcBef>
                      </a:pPr>
                      <a:r>
                        <a:rPr sz="1800" b="1" spc="-5" dirty="0">
                          <a:latin typeface="Arial"/>
                          <a:cs typeface="Arial"/>
                        </a:rPr>
                        <a:t>Define Sales</a:t>
                      </a:r>
                      <a:r>
                        <a:rPr sz="1800" b="1" spc="-75" dirty="0">
                          <a:latin typeface="Arial"/>
                          <a:cs typeface="Arial"/>
                        </a:rPr>
                        <a:t> </a:t>
                      </a:r>
                      <a:r>
                        <a:rPr sz="1800" b="1" dirty="0">
                          <a:latin typeface="Arial"/>
                          <a:cs typeface="Arial"/>
                        </a:rPr>
                        <a:t>Office</a:t>
                      </a:r>
                      <a:endParaRPr sz="1800">
                        <a:latin typeface="Arial"/>
                        <a:cs typeface="Arial"/>
                      </a:endParaRP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tcPr>
                </a:tc>
              </a:tr>
              <a:tr h="365760">
                <a:tc>
                  <a:txBody>
                    <a:bodyPr/>
                    <a:lstStyle/>
                    <a:p>
                      <a:pPr marL="76835">
                        <a:lnSpc>
                          <a:spcPct val="100000"/>
                        </a:lnSpc>
                        <a:spcBef>
                          <a:spcPts val="265"/>
                        </a:spcBef>
                      </a:pPr>
                      <a:r>
                        <a:rPr sz="1800" b="1" dirty="0">
                          <a:latin typeface="Arial"/>
                          <a:cs typeface="Arial"/>
                        </a:rPr>
                        <a:t>OVX4</a:t>
                      </a:r>
                      <a:endParaRPr sz="1800">
                        <a:latin typeface="Arial"/>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85090">
                        <a:lnSpc>
                          <a:spcPct val="100000"/>
                        </a:lnSpc>
                        <a:spcBef>
                          <a:spcPts val="265"/>
                        </a:spcBef>
                      </a:pPr>
                      <a:r>
                        <a:rPr sz="1800" b="1" spc="-5" dirty="0">
                          <a:latin typeface="Arial"/>
                          <a:cs typeface="Arial"/>
                        </a:rPr>
                        <a:t>Define Sales</a:t>
                      </a:r>
                      <a:r>
                        <a:rPr sz="1800" b="1" spc="-75" dirty="0">
                          <a:latin typeface="Arial"/>
                          <a:cs typeface="Arial"/>
                        </a:rPr>
                        <a:t> </a:t>
                      </a:r>
                      <a:r>
                        <a:rPr sz="1800" b="1" dirty="0">
                          <a:latin typeface="Arial"/>
                          <a:cs typeface="Arial"/>
                        </a:rPr>
                        <a:t>Group</a:t>
                      </a:r>
                      <a:endParaRPr sz="1800">
                        <a:latin typeface="Arial"/>
                        <a:cs typeface="Arial"/>
                      </a:endParaRP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tcPr>
                </a:tc>
              </a:tr>
              <a:tr h="365760">
                <a:tc>
                  <a:txBody>
                    <a:bodyPr/>
                    <a:lstStyle/>
                    <a:p>
                      <a:pPr marL="76835">
                        <a:lnSpc>
                          <a:spcPct val="100000"/>
                        </a:lnSpc>
                        <a:spcBef>
                          <a:spcPts val="265"/>
                        </a:spcBef>
                      </a:pPr>
                      <a:r>
                        <a:rPr sz="1800" b="1" dirty="0">
                          <a:latin typeface="Arial"/>
                          <a:cs typeface="Arial"/>
                        </a:rPr>
                        <a:t>OVX3</a:t>
                      </a:r>
                      <a:endParaRPr sz="1800">
                        <a:latin typeface="Arial"/>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85090">
                        <a:lnSpc>
                          <a:spcPct val="100000"/>
                        </a:lnSpc>
                        <a:spcBef>
                          <a:spcPts val="265"/>
                        </a:spcBef>
                      </a:pPr>
                      <a:r>
                        <a:rPr sz="1800" b="1" spc="-15" dirty="0">
                          <a:latin typeface="Arial"/>
                          <a:cs typeface="Arial"/>
                        </a:rPr>
                        <a:t>Assign </a:t>
                      </a:r>
                      <a:r>
                        <a:rPr sz="1800" b="1" spc="-5" dirty="0">
                          <a:latin typeface="Arial"/>
                          <a:cs typeface="Arial"/>
                        </a:rPr>
                        <a:t>Sales </a:t>
                      </a:r>
                      <a:r>
                        <a:rPr sz="1800" b="1" dirty="0">
                          <a:latin typeface="Arial"/>
                          <a:cs typeface="Arial"/>
                        </a:rPr>
                        <a:t>Organization to </a:t>
                      </a:r>
                      <a:r>
                        <a:rPr sz="1800" b="1" spc="-5" dirty="0">
                          <a:latin typeface="Arial"/>
                          <a:cs typeface="Arial"/>
                        </a:rPr>
                        <a:t>Company</a:t>
                      </a:r>
                      <a:r>
                        <a:rPr sz="1800" b="1" spc="40" dirty="0">
                          <a:latin typeface="Arial"/>
                          <a:cs typeface="Arial"/>
                        </a:rPr>
                        <a:t> </a:t>
                      </a:r>
                      <a:r>
                        <a:rPr sz="1800" b="1" spc="-5" dirty="0">
                          <a:latin typeface="Arial"/>
                          <a:cs typeface="Arial"/>
                        </a:rPr>
                        <a:t>Code</a:t>
                      </a:r>
                      <a:endParaRPr sz="1800">
                        <a:latin typeface="Arial"/>
                        <a:cs typeface="Arial"/>
                      </a:endParaRP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tcPr>
                </a:tc>
              </a:tr>
              <a:tr h="365760">
                <a:tc>
                  <a:txBody>
                    <a:bodyPr/>
                    <a:lstStyle/>
                    <a:p>
                      <a:pPr marL="76835">
                        <a:lnSpc>
                          <a:spcPct val="100000"/>
                        </a:lnSpc>
                        <a:spcBef>
                          <a:spcPts val="270"/>
                        </a:spcBef>
                      </a:pPr>
                      <a:r>
                        <a:rPr sz="1800" b="1" dirty="0">
                          <a:latin typeface="Arial"/>
                          <a:cs typeface="Arial"/>
                        </a:rPr>
                        <a:t>OVXK</a:t>
                      </a:r>
                      <a:endParaRPr sz="1800">
                        <a:latin typeface="Arial"/>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85090">
                        <a:lnSpc>
                          <a:spcPct val="100000"/>
                        </a:lnSpc>
                        <a:spcBef>
                          <a:spcPts val="270"/>
                        </a:spcBef>
                      </a:pPr>
                      <a:r>
                        <a:rPr sz="1800" b="1" spc="-15" dirty="0">
                          <a:latin typeface="Arial"/>
                          <a:cs typeface="Arial"/>
                        </a:rPr>
                        <a:t>Assign </a:t>
                      </a:r>
                      <a:r>
                        <a:rPr sz="1800" b="1" dirty="0">
                          <a:latin typeface="Arial"/>
                          <a:cs typeface="Arial"/>
                        </a:rPr>
                        <a:t>Distribution </a:t>
                      </a:r>
                      <a:r>
                        <a:rPr sz="1800" b="1" spc="-5" dirty="0">
                          <a:latin typeface="Arial"/>
                          <a:cs typeface="Arial"/>
                        </a:rPr>
                        <a:t>Channel </a:t>
                      </a:r>
                      <a:r>
                        <a:rPr sz="1800" b="1" dirty="0">
                          <a:latin typeface="Arial"/>
                          <a:cs typeface="Arial"/>
                        </a:rPr>
                        <a:t>to </a:t>
                      </a:r>
                      <a:r>
                        <a:rPr sz="1800" b="1" spc="-5" dirty="0">
                          <a:latin typeface="Arial"/>
                          <a:cs typeface="Arial"/>
                        </a:rPr>
                        <a:t>Sales</a:t>
                      </a:r>
                      <a:r>
                        <a:rPr sz="1800" b="1" spc="25" dirty="0">
                          <a:latin typeface="Arial"/>
                          <a:cs typeface="Arial"/>
                        </a:rPr>
                        <a:t> </a:t>
                      </a:r>
                      <a:r>
                        <a:rPr sz="1800" b="1" dirty="0">
                          <a:latin typeface="Arial"/>
                          <a:cs typeface="Arial"/>
                        </a:rPr>
                        <a:t>Organization</a:t>
                      </a:r>
                      <a:endParaRPr sz="1800">
                        <a:latin typeface="Arial"/>
                        <a:cs typeface="Arial"/>
                      </a:endParaRP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tcPr>
                </a:tc>
              </a:tr>
              <a:tr h="365759">
                <a:tc>
                  <a:txBody>
                    <a:bodyPr/>
                    <a:lstStyle/>
                    <a:p>
                      <a:pPr marL="76835">
                        <a:lnSpc>
                          <a:spcPct val="100000"/>
                        </a:lnSpc>
                        <a:spcBef>
                          <a:spcPts val="270"/>
                        </a:spcBef>
                      </a:pPr>
                      <a:r>
                        <a:rPr sz="1800" b="1" dirty="0">
                          <a:latin typeface="Arial"/>
                          <a:cs typeface="Arial"/>
                        </a:rPr>
                        <a:t>OVXA</a:t>
                      </a:r>
                      <a:endParaRPr sz="1800">
                        <a:latin typeface="Arial"/>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85090">
                        <a:lnSpc>
                          <a:spcPct val="100000"/>
                        </a:lnSpc>
                        <a:spcBef>
                          <a:spcPts val="270"/>
                        </a:spcBef>
                      </a:pPr>
                      <a:r>
                        <a:rPr sz="1800" b="1" spc="-15" dirty="0">
                          <a:latin typeface="Arial"/>
                          <a:cs typeface="Arial"/>
                        </a:rPr>
                        <a:t>Assign </a:t>
                      </a:r>
                      <a:r>
                        <a:rPr sz="1800" b="1" spc="-5" dirty="0">
                          <a:latin typeface="Arial"/>
                          <a:cs typeface="Arial"/>
                        </a:rPr>
                        <a:t>division </a:t>
                      </a:r>
                      <a:r>
                        <a:rPr sz="1800" b="1" dirty="0">
                          <a:latin typeface="Arial"/>
                          <a:cs typeface="Arial"/>
                        </a:rPr>
                        <a:t>to </a:t>
                      </a:r>
                      <a:r>
                        <a:rPr sz="1800" b="1" spc="-5" dirty="0">
                          <a:latin typeface="Arial"/>
                          <a:cs typeface="Arial"/>
                        </a:rPr>
                        <a:t>sales</a:t>
                      </a:r>
                      <a:r>
                        <a:rPr sz="1800" b="1" spc="25" dirty="0">
                          <a:latin typeface="Arial"/>
                          <a:cs typeface="Arial"/>
                        </a:rPr>
                        <a:t> </a:t>
                      </a:r>
                      <a:r>
                        <a:rPr sz="1800" b="1" dirty="0">
                          <a:latin typeface="Arial"/>
                          <a:cs typeface="Arial"/>
                        </a:rPr>
                        <a:t>organization</a:t>
                      </a:r>
                      <a:endParaRPr sz="1800">
                        <a:latin typeface="Arial"/>
                        <a:cs typeface="Arial"/>
                      </a:endParaRP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tcPr>
                </a:tc>
              </a:tr>
              <a:tr h="365760">
                <a:tc>
                  <a:txBody>
                    <a:bodyPr/>
                    <a:lstStyle/>
                    <a:p>
                      <a:pPr marL="76835">
                        <a:lnSpc>
                          <a:spcPct val="100000"/>
                        </a:lnSpc>
                        <a:spcBef>
                          <a:spcPts val="265"/>
                        </a:spcBef>
                      </a:pPr>
                      <a:r>
                        <a:rPr sz="1800" b="1" dirty="0">
                          <a:latin typeface="Arial"/>
                          <a:cs typeface="Arial"/>
                        </a:rPr>
                        <a:t>OVXG</a:t>
                      </a:r>
                      <a:endParaRPr sz="1800">
                        <a:latin typeface="Arial"/>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85090">
                        <a:lnSpc>
                          <a:spcPct val="100000"/>
                        </a:lnSpc>
                        <a:spcBef>
                          <a:spcPts val="265"/>
                        </a:spcBef>
                      </a:pPr>
                      <a:r>
                        <a:rPr sz="1800" b="1" spc="-5" dirty="0">
                          <a:latin typeface="Arial"/>
                          <a:cs typeface="Arial"/>
                        </a:rPr>
                        <a:t>Set </a:t>
                      </a:r>
                      <a:r>
                        <a:rPr sz="1800" b="1" dirty="0">
                          <a:latin typeface="Arial"/>
                          <a:cs typeface="Arial"/>
                        </a:rPr>
                        <a:t>up </a:t>
                      </a:r>
                      <a:r>
                        <a:rPr sz="1800" b="1" spc="-5" dirty="0">
                          <a:latin typeface="Arial"/>
                          <a:cs typeface="Arial"/>
                        </a:rPr>
                        <a:t>sales</a:t>
                      </a:r>
                      <a:r>
                        <a:rPr sz="1800" b="1" spc="-80" dirty="0">
                          <a:latin typeface="Arial"/>
                          <a:cs typeface="Arial"/>
                        </a:rPr>
                        <a:t> </a:t>
                      </a:r>
                      <a:r>
                        <a:rPr sz="1800" b="1" spc="-5" dirty="0">
                          <a:latin typeface="Arial"/>
                          <a:cs typeface="Arial"/>
                        </a:rPr>
                        <a:t>area</a:t>
                      </a:r>
                      <a:endParaRPr sz="1800">
                        <a:latin typeface="Arial"/>
                        <a:cs typeface="Arial"/>
                      </a:endParaRP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tcPr>
                </a:tc>
              </a:tr>
              <a:tr h="365759">
                <a:tc>
                  <a:txBody>
                    <a:bodyPr/>
                    <a:lstStyle/>
                    <a:p>
                      <a:pPr marL="76835">
                        <a:lnSpc>
                          <a:spcPct val="100000"/>
                        </a:lnSpc>
                        <a:spcBef>
                          <a:spcPts val="265"/>
                        </a:spcBef>
                      </a:pPr>
                      <a:r>
                        <a:rPr sz="1800" b="1" dirty="0">
                          <a:latin typeface="Arial"/>
                          <a:cs typeface="Arial"/>
                        </a:rPr>
                        <a:t>OVXM</a:t>
                      </a:r>
                      <a:endParaRPr sz="1800">
                        <a:latin typeface="Arial"/>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85090">
                        <a:lnSpc>
                          <a:spcPct val="100000"/>
                        </a:lnSpc>
                        <a:spcBef>
                          <a:spcPts val="265"/>
                        </a:spcBef>
                      </a:pPr>
                      <a:r>
                        <a:rPr sz="1800" b="1" spc="-15" dirty="0">
                          <a:latin typeface="Arial"/>
                          <a:cs typeface="Arial"/>
                        </a:rPr>
                        <a:t>Assign </a:t>
                      </a:r>
                      <a:r>
                        <a:rPr sz="1800" b="1" spc="-5" dirty="0">
                          <a:latin typeface="Arial"/>
                          <a:cs typeface="Arial"/>
                        </a:rPr>
                        <a:t>sales </a:t>
                      </a:r>
                      <a:r>
                        <a:rPr sz="1800" b="1" dirty="0">
                          <a:latin typeface="Arial"/>
                          <a:cs typeface="Arial"/>
                        </a:rPr>
                        <a:t>office to </a:t>
                      </a:r>
                      <a:r>
                        <a:rPr sz="1800" b="1" spc="-5" dirty="0">
                          <a:latin typeface="Arial"/>
                          <a:cs typeface="Arial"/>
                        </a:rPr>
                        <a:t>sales</a:t>
                      </a:r>
                      <a:r>
                        <a:rPr sz="1800" b="1" spc="25" dirty="0">
                          <a:latin typeface="Arial"/>
                          <a:cs typeface="Arial"/>
                        </a:rPr>
                        <a:t> </a:t>
                      </a:r>
                      <a:r>
                        <a:rPr sz="1800" b="1" spc="-5" dirty="0">
                          <a:latin typeface="Arial"/>
                          <a:cs typeface="Arial"/>
                        </a:rPr>
                        <a:t>area</a:t>
                      </a:r>
                      <a:endParaRPr sz="1800">
                        <a:latin typeface="Arial"/>
                        <a:cs typeface="Arial"/>
                      </a:endParaRP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tcPr>
                </a:tc>
              </a:tr>
              <a:tr h="365759">
                <a:tc>
                  <a:txBody>
                    <a:bodyPr/>
                    <a:lstStyle/>
                    <a:p>
                      <a:pPr marL="76835">
                        <a:lnSpc>
                          <a:spcPct val="100000"/>
                        </a:lnSpc>
                        <a:spcBef>
                          <a:spcPts val="270"/>
                        </a:spcBef>
                      </a:pPr>
                      <a:r>
                        <a:rPr sz="1800" b="1" dirty="0">
                          <a:latin typeface="Arial"/>
                          <a:cs typeface="Arial"/>
                        </a:rPr>
                        <a:t>OVXJ</a:t>
                      </a:r>
                      <a:endParaRPr sz="1800">
                        <a:latin typeface="Arial"/>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85090">
                        <a:lnSpc>
                          <a:spcPct val="100000"/>
                        </a:lnSpc>
                        <a:spcBef>
                          <a:spcPts val="270"/>
                        </a:spcBef>
                      </a:pPr>
                      <a:r>
                        <a:rPr sz="1800" b="1" spc="-15" dirty="0">
                          <a:latin typeface="Arial"/>
                          <a:cs typeface="Arial"/>
                        </a:rPr>
                        <a:t>Assign </a:t>
                      </a:r>
                      <a:r>
                        <a:rPr sz="1800" b="1" spc="-5" dirty="0">
                          <a:latin typeface="Arial"/>
                          <a:cs typeface="Arial"/>
                        </a:rPr>
                        <a:t>sales </a:t>
                      </a:r>
                      <a:r>
                        <a:rPr sz="1800" b="1" dirty="0">
                          <a:latin typeface="Arial"/>
                          <a:cs typeface="Arial"/>
                        </a:rPr>
                        <a:t>group to </a:t>
                      </a:r>
                      <a:r>
                        <a:rPr sz="1800" b="1" spc="-5" dirty="0">
                          <a:latin typeface="Arial"/>
                          <a:cs typeface="Arial"/>
                        </a:rPr>
                        <a:t>sales</a:t>
                      </a:r>
                      <a:r>
                        <a:rPr sz="1800" b="1" spc="10" dirty="0">
                          <a:latin typeface="Arial"/>
                          <a:cs typeface="Arial"/>
                        </a:rPr>
                        <a:t> </a:t>
                      </a:r>
                      <a:r>
                        <a:rPr sz="1800" b="1" dirty="0">
                          <a:latin typeface="Arial"/>
                          <a:cs typeface="Arial"/>
                        </a:rPr>
                        <a:t>office</a:t>
                      </a:r>
                      <a:endParaRPr sz="1800">
                        <a:latin typeface="Arial"/>
                        <a:cs typeface="Arial"/>
                      </a:endParaRP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tcPr>
                </a:tc>
              </a:tr>
              <a:tr h="365759">
                <a:tc>
                  <a:txBody>
                    <a:bodyPr/>
                    <a:lstStyle/>
                    <a:p>
                      <a:pPr marL="76835">
                        <a:lnSpc>
                          <a:spcPct val="100000"/>
                        </a:lnSpc>
                        <a:spcBef>
                          <a:spcPts val="270"/>
                        </a:spcBef>
                      </a:pPr>
                      <a:r>
                        <a:rPr sz="1800" b="1" dirty="0">
                          <a:latin typeface="Arial"/>
                          <a:cs typeface="Arial"/>
                        </a:rPr>
                        <a:t>OVX6</a:t>
                      </a:r>
                      <a:endParaRPr sz="1800">
                        <a:latin typeface="Arial"/>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28575">
                      <a:solidFill>
                        <a:srgbClr val="000000"/>
                      </a:solidFill>
                      <a:prstDash val="solid"/>
                    </a:lnB>
                  </a:tcPr>
                </a:tc>
                <a:tc>
                  <a:txBody>
                    <a:bodyPr/>
                    <a:lstStyle/>
                    <a:p>
                      <a:pPr marL="85090">
                        <a:lnSpc>
                          <a:spcPct val="100000"/>
                        </a:lnSpc>
                        <a:spcBef>
                          <a:spcPts val="270"/>
                        </a:spcBef>
                      </a:pPr>
                      <a:r>
                        <a:rPr sz="1800" b="1" spc="-15" dirty="0">
                          <a:latin typeface="Arial"/>
                          <a:cs typeface="Arial"/>
                        </a:rPr>
                        <a:t>Assign </a:t>
                      </a:r>
                      <a:r>
                        <a:rPr sz="1800" b="1" spc="-5" dirty="0">
                          <a:latin typeface="Arial"/>
                          <a:cs typeface="Arial"/>
                        </a:rPr>
                        <a:t>sales </a:t>
                      </a:r>
                      <a:r>
                        <a:rPr sz="1800" b="1" dirty="0">
                          <a:latin typeface="Arial"/>
                          <a:cs typeface="Arial"/>
                        </a:rPr>
                        <a:t>organization - distribution </a:t>
                      </a:r>
                      <a:r>
                        <a:rPr sz="1800" b="1" spc="-5" dirty="0">
                          <a:latin typeface="Arial"/>
                          <a:cs typeface="Arial"/>
                        </a:rPr>
                        <a:t>channel </a:t>
                      </a:r>
                      <a:r>
                        <a:rPr sz="1800" b="1" dirty="0">
                          <a:latin typeface="Arial"/>
                          <a:cs typeface="Arial"/>
                        </a:rPr>
                        <a:t>-</a:t>
                      </a:r>
                      <a:r>
                        <a:rPr sz="1800" b="1" spc="30" dirty="0">
                          <a:latin typeface="Arial"/>
                          <a:cs typeface="Arial"/>
                        </a:rPr>
                        <a:t> </a:t>
                      </a:r>
                      <a:r>
                        <a:rPr sz="1800" b="1" dirty="0">
                          <a:latin typeface="Arial"/>
                          <a:cs typeface="Arial"/>
                        </a:rPr>
                        <a:t>plant</a:t>
                      </a:r>
                      <a:endParaRPr sz="1800" dirty="0">
                        <a:latin typeface="Arial"/>
                        <a:cs typeface="Arial"/>
                      </a:endParaRP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28575">
                      <a:solidFill>
                        <a:srgbClr val="000000"/>
                      </a:solidFill>
                      <a:prstDash val="solid"/>
                    </a:lnB>
                  </a:tcPr>
                </a:tc>
              </a:tr>
            </a:tbl>
          </a:graphicData>
        </a:graphic>
      </p:graphicFrame>
      <p:sp>
        <p:nvSpPr>
          <p:cNvPr id="7" name="object 7"/>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46</a:t>
            </a:fld>
            <a:endParaRPr sz="1200">
              <a:latin typeface="Symbol"/>
              <a:cs typeface="Symbol"/>
            </a:endParaRP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4107179" y="260604"/>
            <a:ext cx="886968"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152400" y="152400"/>
            <a:ext cx="9144000" cy="393954"/>
          </a:xfrm>
          <a:prstGeom prst="rect">
            <a:avLst/>
          </a:prstGeom>
        </p:spPr>
        <p:txBody>
          <a:bodyPr vert="horz" wrap="square" lIns="0" tIns="0" rIns="0" bIns="0" rtlCol="0">
            <a:spAutoFit/>
          </a:bodyPr>
          <a:lstStyle/>
          <a:p>
            <a:pPr marR="5080">
              <a:lnSpc>
                <a:spcPct val="80000"/>
              </a:lnSpc>
            </a:pPr>
            <a:r>
              <a:rPr dirty="0"/>
              <a:t>Tips and Tricks</a:t>
            </a:r>
          </a:p>
        </p:txBody>
      </p:sp>
      <p:sp>
        <p:nvSpPr>
          <p:cNvPr id="5" name="object 5"/>
          <p:cNvSpPr/>
          <p:nvPr/>
        </p:nvSpPr>
        <p:spPr>
          <a:xfrm>
            <a:off x="381000" y="1143000"/>
            <a:ext cx="8305800" cy="5105400"/>
          </a:xfrm>
          <a:prstGeom prst="rect">
            <a:avLst/>
          </a:prstGeom>
          <a:blipFill>
            <a:blip r:embed="rId3" cstate="print"/>
            <a:stretch>
              <a:fillRect/>
            </a:stretch>
          </a:blipFill>
        </p:spPr>
        <p:txBody>
          <a:bodyPr wrap="square" lIns="0" tIns="0" rIns="0" bIns="0" rtlCol="0"/>
          <a:lstStyle/>
          <a:p>
            <a:endParaRPr/>
          </a:p>
        </p:txBody>
      </p:sp>
      <p:sp>
        <p:nvSpPr>
          <p:cNvPr id="6" name="object 6"/>
          <p:cNvSpPr txBox="1"/>
          <p:nvPr/>
        </p:nvSpPr>
        <p:spPr>
          <a:xfrm>
            <a:off x="749300" y="4078096"/>
            <a:ext cx="7708900" cy="1720214"/>
          </a:xfrm>
          <a:prstGeom prst="rect">
            <a:avLst/>
          </a:prstGeom>
        </p:spPr>
        <p:txBody>
          <a:bodyPr vert="horz" wrap="square" lIns="0" tIns="0" rIns="0" bIns="0" rtlCol="0">
            <a:spAutoFit/>
          </a:bodyPr>
          <a:lstStyle/>
          <a:p>
            <a:pPr marL="297815" marR="6350" indent="-285750" algn="just">
              <a:lnSpc>
                <a:spcPts val="1540"/>
              </a:lnSpc>
              <a:buClr>
                <a:srgbClr val="00B0F0"/>
              </a:buClr>
              <a:buFont typeface="Wingdings" panose="05000000000000000000" pitchFamily="2" charset="2"/>
              <a:buChar char="§"/>
            </a:pPr>
            <a:r>
              <a:rPr sz="1600" b="1" spc="-35" dirty="0" smtClean="0">
                <a:latin typeface="Arial"/>
                <a:cs typeface="Arial"/>
              </a:rPr>
              <a:t>You </a:t>
            </a:r>
            <a:r>
              <a:rPr sz="1600" b="1" spc="-5" dirty="0" smtClean="0">
                <a:latin typeface="Arial"/>
                <a:cs typeface="Arial"/>
              </a:rPr>
              <a:t>can check </a:t>
            </a:r>
            <a:r>
              <a:rPr sz="1600" b="1" spc="-10" dirty="0" smtClean="0">
                <a:latin typeface="Arial"/>
                <a:cs typeface="Arial"/>
              </a:rPr>
              <a:t>the Assignment </a:t>
            </a:r>
            <a:r>
              <a:rPr sz="1600" b="1" dirty="0" smtClean="0">
                <a:latin typeface="Arial"/>
                <a:cs typeface="Arial"/>
              </a:rPr>
              <a:t>of </a:t>
            </a:r>
            <a:r>
              <a:rPr sz="1600" b="1" spc="-10" dirty="0" smtClean="0">
                <a:latin typeface="Arial"/>
                <a:cs typeface="Arial"/>
              </a:rPr>
              <a:t>Org </a:t>
            </a:r>
            <a:r>
              <a:rPr sz="1600" b="1" spc="-5" dirty="0" smtClean="0">
                <a:latin typeface="Arial"/>
                <a:cs typeface="Arial"/>
              </a:rPr>
              <a:t>Units in Sales </a:t>
            </a:r>
            <a:r>
              <a:rPr sz="1600" b="1" dirty="0" smtClean="0">
                <a:latin typeface="Arial"/>
                <a:cs typeface="Arial"/>
              </a:rPr>
              <a:t>and Distribution from  </a:t>
            </a:r>
            <a:r>
              <a:rPr sz="1600" b="1" spc="-5" dirty="0" smtClean="0">
                <a:latin typeface="Arial"/>
                <a:cs typeface="Arial"/>
              </a:rPr>
              <a:t>IMG Menu</a:t>
            </a:r>
            <a:r>
              <a:rPr sz="1600" b="1" spc="-45" dirty="0" smtClean="0">
                <a:latin typeface="Arial"/>
                <a:cs typeface="Arial"/>
              </a:rPr>
              <a:t> </a:t>
            </a:r>
            <a:r>
              <a:rPr sz="1600" b="1" spc="-5" dirty="0" smtClean="0">
                <a:latin typeface="Arial"/>
                <a:cs typeface="Arial"/>
              </a:rPr>
              <a:t>Path:</a:t>
            </a:r>
            <a:endParaRPr sz="1600" b="1" dirty="0" smtClean="0">
              <a:latin typeface="Arial"/>
              <a:cs typeface="Arial"/>
            </a:endParaRPr>
          </a:p>
          <a:p>
            <a:pPr marL="12065" marR="8890" algn="just">
              <a:lnSpc>
                <a:spcPts val="1540"/>
              </a:lnSpc>
              <a:spcBef>
                <a:spcPts val="380"/>
              </a:spcBef>
              <a:buClr>
                <a:srgbClr val="00B0F0"/>
              </a:buClr>
            </a:pPr>
            <a:r>
              <a:rPr lang="en-US" sz="1600" b="1" spc="-5" dirty="0" smtClean="0">
                <a:latin typeface="Arial"/>
                <a:cs typeface="Arial"/>
              </a:rPr>
              <a:t>	</a:t>
            </a:r>
            <a:r>
              <a:rPr sz="1600" b="1" spc="-5" dirty="0" smtClean="0">
                <a:latin typeface="Arial"/>
                <a:cs typeface="Arial"/>
              </a:rPr>
              <a:t>Enterprise Structure </a:t>
            </a:r>
            <a:r>
              <a:rPr sz="1600" b="1" spc="-10" dirty="0" smtClean="0">
                <a:latin typeface="Wingdings"/>
                <a:cs typeface="Wingdings"/>
              </a:rPr>
              <a:t></a:t>
            </a:r>
            <a:r>
              <a:rPr sz="1600" b="1" spc="-10" dirty="0" smtClean="0">
                <a:latin typeface="Times New Roman"/>
                <a:cs typeface="Times New Roman"/>
              </a:rPr>
              <a:t> </a:t>
            </a:r>
            <a:r>
              <a:rPr sz="1600" b="1" spc="-5" dirty="0" smtClean="0">
                <a:latin typeface="Arial"/>
                <a:cs typeface="Arial"/>
              </a:rPr>
              <a:t>Consistency Check </a:t>
            </a:r>
            <a:r>
              <a:rPr sz="1600" b="1" spc="-10" dirty="0" smtClean="0">
                <a:latin typeface="Wingdings"/>
                <a:cs typeface="Wingdings"/>
              </a:rPr>
              <a:t></a:t>
            </a:r>
            <a:r>
              <a:rPr sz="1600" b="1" spc="-10" dirty="0" smtClean="0">
                <a:latin typeface="Times New Roman"/>
                <a:cs typeface="Times New Roman"/>
              </a:rPr>
              <a:t> </a:t>
            </a:r>
            <a:r>
              <a:rPr sz="1600" b="1" spc="-5" dirty="0" smtClean="0">
                <a:latin typeface="Arial"/>
                <a:cs typeface="Arial"/>
              </a:rPr>
              <a:t>Check Enterprise </a:t>
            </a:r>
            <a:r>
              <a:rPr lang="en-US" sz="1600" b="1" spc="-5" dirty="0" smtClean="0">
                <a:latin typeface="Arial"/>
                <a:cs typeface="Arial"/>
              </a:rPr>
              <a:t>	</a:t>
            </a:r>
            <a:r>
              <a:rPr sz="1600" b="1" spc="-5" dirty="0" smtClean="0">
                <a:latin typeface="Arial"/>
                <a:cs typeface="Arial"/>
              </a:rPr>
              <a:t>Structure </a:t>
            </a:r>
            <a:r>
              <a:rPr lang="en-US" sz="1600" b="1" spc="-5" dirty="0" smtClean="0">
                <a:latin typeface="Arial"/>
                <a:cs typeface="Arial"/>
              </a:rPr>
              <a:t> </a:t>
            </a:r>
            <a:r>
              <a:rPr sz="1600" b="1" spc="-10" dirty="0" smtClean="0">
                <a:latin typeface="Arial"/>
                <a:cs typeface="Arial"/>
              </a:rPr>
              <a:t>for  </a:t>
            </a:r>
            <a:r>
              <a:rPr sz="1600" b="1" spc="-5" dirty="0" smtClean="0">
                <a:latin typeface="Arial"/>
                <a:cs typeface="Arial"/>
              </a:rPr>
              <a:t>Sales &amp; Distribution</a:t>
            </a:r>
            <a:endParaRPr sz="1600" b="1" dirty="0" smtClean="0">
              <a:latin typeface="Arial"/>
              <a:cs typeface="Arial"/>
            </a:endParaRPr>
          </a:p>
          <a:p>
            <a:pPr marL="342900" indent="-342900">
              <a:lnSpc>
                <a:spcPct val="100000"/>
              </a:lnSpc>
              <a:spcBef>
                <a:spcPts val="10"/>
              </a:spcBef>
              <a:buClr>
                <a:srgbClr val="00B0F0"/>
              </a:buClr>
              <a:buFont typeface="Wingdings" panose="05000000000000000000" pitchFamily="2" charset="2"/>
              <a:buChar char="§"/>
            </a:pPr>
            <a:endParaRPr sz="2000" b="1" dirty="0" smtClean="0">
              <a:latin typeface="Times New Roman"/>
              <a:cs typeface="Times New Roman"/>
            </a:endParaRPr>
          </a:p>
          <a:p>
            <a:pPr marL="297815" marR="5080" indent="-285750" algn="just">
              <a:lnSpc>
                <a:spcPct val="80100"/>
              </a:lnSpc>
              <a:spcBef>
                <a:spcPts val="5"/>
              </a:spcBef>
              <a:buClr>
                <a:srgbClr val="00B0F0"/>
              </a:buClr>
              <a:buFont typeface="Wingdings" panose="05000000000000000000" pitchFamily="2" charset="2"/>
              <a:buChar char="§"/>
            </a:pPr>
            <a:r>
              <a:rPr sz="1600" b="1" spc="-10" dirty="0" smtClean="0">
                <a:latin typeface="Arial"/>
                <a:cs typeface="Arial"/>
              </a:rPr>
              <a:t>For </a:t>
            </a:r>
            <a:r>
              <a:rPr sz="1600" b="1" spc="-5" dirty="0" smtClean="0">
                <a:latin typeface="Arial"/>
                <a:cs typeface="Arial"/>
              </a:rPr>
              <a:t>example, </a:t>
            </a:r>
            <a:r>
              <a:rPr sz="1600" b="1" spc="-10" dirty="0" smtClean="0">
                <a:latin typeface="Arial"/>
                <a:cs typeface="Arial"/>
              </a:rPr>
              <a:t>you </a:t>
            </a:r>
            <a:r>
              <a:rPr sz="1600" b="1" spc="-5" dirty="0" smtClean="0">
                <a:latin typeface="Arial"/>
                <a:cs typeface="Arial"/>
              </a:rPr>
              <a:t>can check whether </a:t>
            </a:r>
            <a:r>
              <a:rPr sz="1600" b="1" spc="-10" dirty="0" smtClean="0">
                <a:latin typeface="Arial"/>
                <a:cs typeface="Arial"/>
              </a:rPr>
              <a:t>the </a:t>
            </a:r>
            <a:r>
              <a:rPr sz="1600" b="1" spc="-5" dirty="0" smtClean="0">
                <a:latin typeface="Arial"/>
                <a:cs typeface="Arial"/>
              </a:rPr>
              <a:t>addresses </a:t>
            </a:r>
            <a:r>
              <a:rPr sz="1600" b="1" spc="5" dirty="0" smtClean="0">
                <a:latin typeface="Arial"/>
                <a:cs typeface="Arial"/>
              </a:rPr>
              <a:t>were </a:t>
            </a:r>
            <a:r>
              <a:rPr sz="1600" b="1" spc="-5" dirty="0" smtClean="0">
                <a:latin typeface="Arial"/>
                <a:cs typeface="Arial"/>
              </a:rPr>
              <a:t>maintained for </a:t>
            </a:r>
            <a:r>
              <a:rPr sz="1600" b="1" dirty="0" smtClean="0">
                <a:latin typeface="Arial"/>
                <a:cs typeface="Arial"/>
              </a:rPr>
              <a:t>all  </a:t>
            </a:r>
            <a:r>
              <a:rPr sz="1600" b="1" spc="-5" dirty="0" smtClean="0">
                <a:latin typeface="Arial"/>
                <a:cs typeface="Arial"/>
              </a:rPr>
              <a:t>sales organizations, </a:t>
            </a:r>
            <a:r>
              <a:rPr sz="1600" b="1" dirty="0" smtClean="0">
                <a:latin typeface="Arial"/>
                <a:cs typeface="Arial"/>
              </a:rPr>
              <a:t>whether </a:t>
            </a:r>
            <a:r>
              <a:rPr sz="1600" b="1" spc="-5" dirty="0" smtClean="0">
                <a:latin typeface="Arial"/>
                <a:cs typeface="Arial"/>
              </a:rPr>
              <a:t>the allocation </a:t>
            </a:r>
            <a:r>
              <a:rPr sz="1600" b="1" dirty="0" smtClean="0">
                <a:latin typeface="Arial"/>
                <a:cs typeface="Arial"/>
              </a:rPr>
              <a:t>to </a:t>
            </a:r>
            <a:r>
              <a:rPr sz="1600" b="1" spc="-5" dirty="0" smtClean="0">
                <a:latin typeface="Arial"/>
                <a:cs typeface="Arial"/>
              </a:rPr>
              <a:t>a </a:t>
            </a:r>
            <a:r>
              <a:rPr sz="1600" b="1" dirty="0" smtClean="0">
                <a:latin typeface="Arial"/>
                <a:cs typeface="Arial"/>
              </a:rPr>
              <a:t>company </a:t>
            </a:r>
            <a:r>
              <a:rPr sz="1600" b="1" spc="-5" dirty="0" smtClean="0">
                <a:latin typeface="Arial"/>
                <a:cs typeface="Arial"/>
              </a:rPr>
              <a:t>code </a:t>
            </a:r>
            <a:r>
              <a:rPr sz="1600" b="1" spc="10" dirty="0" smtClean="0">
                <a:latin typeface="Arial"/>
                <a:cs typeface="Arial"/>
              </a:rPr>
              <a:t>was </a:t>
            </a:r>
            <a:r>
              <a:rPr sz="1600" b="1" spc="-5" dirty="0" smtClean="0">
                <a:latin typeface="Arial"/>
                <a:cs typeface="Arial"/>
              </a:rPr>
              <a:t>made  and a sales area</a:t>
            </a:r>
            <a:r>
              <a:rPr sz="1600" b="1" spc="-20" dirty="0" smtClean="0">
                <a:latin typeface="Arial"/>
                <a:cs typeface="Arial"/>
              </a:rPr>
              <a:t> </a:t>
            </a:r>
            <a:r>
              <a:rPr sz="1600" b="1" spc="-5" dirty="0" smtClean="0">
                <a:latin typeface="Arial"/>
                <a:cs typeface="Arial"/>
              </a:rPr>
              <a:t>created</a:t>
            </a:r>
            <a:endParaRPr sz="1600" b="1" dirty="0">
              <a:latin typeface="Arial"/>
              <a:cs typeface="Arial"/>
            </a:endParaRPr>
          </a:p>
        </p:txBody>
      </p:sp>
      <p:sp>
        <p:nvSpPr>
          <p:cNvPr id="8" name="object 8"/>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47</a:t>
            </a:fld>
            <a:endParaRPr sz="1200">
              <a:latin typeface="Symbol"/>
              <a:cs typeface="Symbol"/>
            </a:endParaRP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5967984" y="260604"/>
            <a:ext cx="886967"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prstGeom prst="rect">
            <a:avLst/>
          </a:prstGeom>
        </p:spPr>
        <p:txBody>
          <a:bodyPr vert="horz" wrap="square" lIns="0" tIns="0" rIns="0" bIns="0" rtlCol="0">
            <a:spAutoFit/>
          </a:bodyPr>
          <a:lstStyle/>
          <a:p>
            <a:pPr marL="12700">
              <a:lnSpc>
                <a:spcPct val="100000"/>
              </a:lnSpc>
            </a:pPr>
            <a:r>
              <a:rPr dirty="0"/>
              <a:t>Additional</a:t>
            </a:r>
            <a:r>
              <a:rPr spc="-60" dirty="0"/>
              <a:t> </a:t>
            </a:r>
            <a:r>
              <a:rPr dirty="0"/>
              <a:t>Information</a:t>
            </a:r>
          </a:p>
        </p:txBody>
      </p:sp>
      <p:sp>
        <p:nvSpPr>
          <p:cNvPr id="5" name="object 5"/>
          <p:cNvSpPr txBox="1"/>
          <p:nvPr/>
        </p:nvSpPr>
        <p:spPr>
          <a:xfrm>
            <a:off x="304800" y="1161652"/>
            <a:ext cx="8410575" cy="6801862"/>
          </a:xfrm>
          <a:prstGeom prst="rect">
            <a:avLst/>
          </a:prstGeom>
        </p:spPr>
        <p:txBody>
          <a:bodyPr vert="horz" wrap="square" lIns="0" tIns="0" rIns="0" bIns="0" rtlCol="0">
            <a:spAutoFit/>
          </a:bodyPr>
          <a:lstStyle/>
          <a:p>
            <a:pPr marL="355600" marR="289560" indent="-342900">
              <a:buClr>
                <a:srgbClr val="00B0F0"/>
              </a:buClr>
              <a:buSzPct val="50000"/>
              <a:buFont typeface="Wingdings" panose="05000000000000000000" pitchFamily="2" charset="2"/>
              <a:buChar char="§"/>
              <a:tabLst>
                <a:tab pos="354965" algn="l"/>
                <a:tab pos="355600" algn="l"/>
              </a:tabLst>
            </a:pPr>
            <a:r>
              <a:rPr sz="2200" spc="-5" dirty="0" smtClean="0">
                <a:latin typeface="Arial"/>
                <a:cs typeface="Arial"/>
              </a:rPr>
              <a:t>The </a:t>
            </a:r>
            <a:r>
              <a:rPr sz="2200" spc="-5" dirty="0">
                <a:latin typeface="Arial"/>
                <a:cs typeface="Arial"/>
              </a:rPr>
              <a:t>definition of organization units is a fundamental step in your project. It  is a critical factor in how the project will be structured. You should not use  more organization units than necessary. Once you have decided on an  organizational structure it is not easy to change it</a:t>
            </a:r>
          </a:p>
          <a:p>
            <a:pPr marL="355600" marR="289560" indent="-342900">
              <a:spcBef>
                <a:spcPts val="45"/>
              </a:spcBef>
              <a:buClr>
                <a:srgbClr val="00B0F0"/>
              </a:buClr>
              <a:buFont typeface="Wingdings" panose="05000000000000000000" pitchFamily="2" charset="2"/>
              <a:buChar char="§"/>
              <a:tabLst>
                <a:tab pos="354965" algn="l"/>
                <a:tab pos="355600" algn="l"/>
              </a:tabLst>
            </a:pPr>
            <a:endParaRPr sz="2200" spc="-5" dirty="0">
              <a:latin typeface="Arial"/>
              <a:cs typeface="Arial"/>
            </a:endParaRPr>
          </a:p>
          <a:p>
            <a:pPr marL="355600" marR="289560" indent="-342900">
              <a:buClr>
                <a:srgbClr val="00B0F0"/>
              </a:buClr>
              <a:buFont typeface="Wingdings" panose="05000000000000000000" pitchFamily="2" charset="2"/>
              <a:buChar char="§"/>
              <a:tabLst>
                <a:tab pos="354965" algn="l"/>
                <a:tab pos="355600" algn="l"/>
              </a:tabLst>
            </a:pPr>
            <a:r>
              <a:rPr sz="2200" spc="-5" dirty="0">
                <a:latin typeface="Arial"/>
                <a:cs typeface="Arial"/>
              </a:rPr>
              <a:t>In order to simplify master record and document entry, the organizational  units can be stored as user parameters in the user master record. It is not  necessary to specify the organizational units since the values are proposed  automatically. The following are examples of IDs defined for user  parameters:</a:t>
            </a:r>
          </a:p>
          <a:p>
            <a:pPr marL="812800" marR="289560" lvl="1" indent="-342900">
              <a:spcBef>
                <a:spcPts val="15"/>
              </a:spcBef>
              <a:buClr>
                <a:srgbClr val="00B0F0"/>
              </a:buClr>
              <a:buFont typeface="Wingdings" panose="05000000000000000000" pitchFamily="2" charset="2"/>
              <a:buChar char="§"/>
              <a:tabLst>
                <a:tab pos="354965" algn="l"/>
                <a:tab pos="355600" algn="l"/>
              </a:tabLst>
            </a:pPr>
            <a:r>
              <a:rPr spc="-5" dirty="0" smtClean="0">
                <a:latin typeface="Arial"/>
                <a:cs typeface="Arial"/>
              </a:rPr>
              <a:t>SPA </a:t>
            </a:r>
            <a:r>
              <a:rPr lang="en-US" spc="-5" dirty="0" smtClean="0">
                <a:latin typeface="Arial"/>
                <a:cs typeface="Arial"/>
              </a:rPr>
              <a:t>–</a:t>
            </a:r>
            <a:r>
              <a:rPr spc="-5" dirty="0" smtClean="0">
                <a:latin typeface="Arial"/>
                <a:cs typeface="Arial"/>
              </a:rPr>
              <a:t> Division</a:t>
            </a:r>
            <a:endParaRPr lang="en-US" spc="-5" dirty="0" smtClean="0">
              <a:latin typeface="Arial"/>
              <a:cs typeface="Arial"/>
            </a:endParaRPr>
          </a:p>
          <a:p>
            <a:pPr marL="812800" marR="289560" lvl="1" indent="-342900">
              <a:spcBef>
                <a:spcPts val="15"/>
              </a:spcBef>
              <a:buClr>
                <a:srgbClr val="00B0F0"/>
              </a:buClr>
              <a:buFont typeface="Wingdings" panose="05000000000000000000" pitchFamily="2" charset="2"/>
              <a:buChar char="§"/>
              <a:tabLst>
                <a:tab pos="354965" algn="l"/>
                <a:tab pos="355600" algn="l"/>
              </a:tabLst>
            </a:pPr>
            <a:r>
              <a:rPr lang="en-US" spc="-5" dirty="0" smtClean="0">
                <a:latin typeface="Arial"/>
                <a:cs typeface="Arial"/>
              </a:rPr>
              <a:t>VKO-Sales Organization	</a:t>
            </a:r>
            <a:endParaRPr spc="-5" dirty="0">
              <a:latin typeface="Arial"/>
              <a:cs typeface="Arial"/>
            </a:endParaRPr>
          </a:p>
          <a:p>
            <a:pPr marL="812800" marR="289560" lvl="1" indent="-342900">
              <a:buClr>
                <a:srgbClr val="00B0F0"/>
              </a:buClr>
              <a:buFont typeface="Wingdings" panose="05000000000000000000" pitchFamily="2" charset="2"/>
              <a:buChar char="§"/>
              <a:tabLst>
                <a:tab pos="354965" algn="l"/>
                <a:tab pos="355600" algn="l"/>
              </a:tabLst>
            </a:pPr>
            <a:r>
              <a:rPr spc="-5" dirty="0" smtClean="0">
                <a:latin typeface="Arial"/>
                <a:cs typeface="Arial"/>
              </a:rPr>
              <a:t>VTW </a:t>
            </a:r>
            <a:r>
              <a:rPr spc="-5" dirty="0">
                <a:latin typeface="Arial"/>
                <a:cs typeface="Arial"/>
              </a:rPr>
              <a:t>- Distribution channel</a:t>
            </a:r>
          </a:p>
          <a:p>
            <a:pPr marL="812800" marR="289560" lvl="1" indent="-342900">
              <a:buClr>
                <a:srgbClr val="00B0F0"/>
              </a:buClr>
              <a:buFont typeface="Wingdings" panose="05000000000000000000" pitchFamily="2" charset="2"/>
              <a:buChar char="§"/>
              <a:tabLst>
                <a:tab pos="354965" algn="l"/>
                <a:tab pos="355600" algn="l"/>
              </a:tabLst>
            </a:pPr>
            <a:r>
              <a:rPr spc="-5" dirty="0" smtClean="0">
                <a:latin typeface="Arial"/>
                <a:cs typeface="Arial"/>
              </a:rPr>
              <a:t>WRK </a:t>
            </a:r>
            <a:r>
              <a:rPr lang="en-US" spc="-5" dirty="0">
                <a:latin typeface="Arial"/>
                <a:cs typeface="Arial"/>
              </a:rPr>
              <a:t>–</a:t>
            </a:r>
            <a:r>
              <a:rPr spc="-5" dirty="0">
                <a:latin typeface="Arial"/>
                <a:cs typeface="Arial"/>
              </a:rPr>
              <a:t> Plant</a:t>
            </a:r>
            <a:endParaRPr lang="en-US" spc="-5" dirty="0">
              <a:latin typeface="Arial"/>
              <a:cs typeface="Arial"/>
            </a:endParaRPr>
          </a:p>
          <a:p>
            <a:pPr marL="755650" indent="-285750">
              <a:lnSpc>
                <a:spcPct val="100000"/>
              </a:lnSpc>
              <a:buClr>
                <a:srgbClr val="00B0F0"/>
              </a:buClr>
              <a:buFont typeface="Wingdings" panose="05000000000000000000" pitchFamily="2" charset="2"/>
              <a:buChar char="§"/>
            </a:pPr>
            <a:endParaRPr lang="en-US" b="1" dirty="0">
              <a:latin typeface="Arial"/>
              <a:cs typeface="Arial"/>
            </a:endParaRPr>
          </a:p>
          <a:p>
            <a:pPr marL="755650" indent="-285750">
              <a:lnSpc>
                <a:spcPct val="100000"/>
              </a:lnSpc>
              <a:buClr>
                <a:srgbClr val="00B0F0"/>
              </a:buClr>
              <a:buFont typeface="Wingdings" panose="05000000000000000000" pitchFamily="2" charset="2"/>
              <a:buChar char="§"/>
            </a:pPr>
            <a:endParaRPr lang="en-US" sz="1800" b="1" dirty="0" smtClean="0">
              <a:latin typeface="Arial"/>
              <a:cs typeface="Arial"/>
            </a:endParaRPr>
          </a:p>
          <a:p>
            <a:pPr marL="755650" indent="-285750">
              <a:lnSpc>
                <a:spcPct val="100000"/>
              </a:lnSpc>
              <a:buClr>
                <a:srgbClr val="00B0F0"/>
              </a:buClr>
              <a:buFont typeface="Wingdings" panose="05000000000000000000" pitchFamily="2" charset="2"/>
              <a:buChar char="§"/>
            </a:pPr>
            <a:endParaRPr lang="en-US" b="1" dirty="0">
              <a:latin typeface="Arial"/>
              <a:cs typeface="Arial"/>
            </a:endParaRPr>
          </a:p>
          <a:p>
            <a:pPr marL="755650" indent="-285750">
              <a:lnSpc>
                <a:spcPct val="100000"/>
              </a:lnSpc>
              <a:buClr>
                <a:srgbClr val="00B0F0"/>
              </a:buClr>
              <a:buFont typeface="Wingdings" panose="05000000000000000000" pitchFamily="2" charset="2"/>
              <a:buChar char="§"/>
            </a:pPr>
            <a:endParaRPr lang="en-US" sz="1800" b="1" dirty="0" smtClean="0">
              <a:latin typeface="Arial"/>
              <a:cs typeface="Arial"/>
            </a:endParaRPr>
          </a:p>
          <a:p>
            <a:pPr marL="755650" indent="-285750">
              <a:lnSpc>
                <a:spcPct val="100000"/>
              </a:lnSpc>
              <a:buClr>
                <a:srgbClr val="00B0F0"/>
              </a:buClr>
              <a:buFont typeface="Wingdings" panose="05000000000000000000" pitchFamily="2" charset="2"/>
              <a:buChar char="§"/>
            </a:pPr>
            <a:endParaRPr sz="1800" dirty="0">
              <a:latin typeface="Arial"/>
              <a:cs typeface="Arial"/>
            </a:endParaRPr>
          </a:p>
        </p:txBody>
      </p:sp>
      <p:sp>
        <p:nvSpPr>
          <p:cNvPr id="7" name="object 7"/>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48</a:t>
            </a:fld>
            <a:endParaRPr sz="1200">
              <a:latin typeface="Symbol"/>
              <a:cs typeface="Symbo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4381500" y="280415"/>
            <a:ext cx="886968"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prstGeom prst="rect">
            <a:avLst/>
          </a:prstGeom>
        </p:spPr>
        <p:txBody>
          <a:bodyPr vert="horz" wrap="square" lIns="0" tIns="0" rIns="0" bIns="0" rtlCol="0">
            <a:spAutoFit/>
          </a:bodyPr>
          <a:lstStyle/>
          <a:p>
            <a:pPr marL="69850">
              <a:lnSpc>
                <a:spcPct val="100000"/>
              </a:lnSpc>
            </a:pPr>
            <a:r>
              <a:rPr dirty="0"/>
              <a:t>Orga</a:t>
            </a:r>
            <a:r>
              <a:rPr spc="-20" dirty="0"/>
              <a:t>n</a:t>
            </a:r>
            <a:r>
              <a:rPr dirty="0"/>
              <a:t>ization</a:t>
            </a:r>
            <a:r>
              <a:rPr spc="-10" dirty="0"/>
              <a:t>…</a:t>
            </a:r>
            <a:r>
              <a:rPr dirty="0"/>
              <a:t>?</a:t>
            </a:r>
          </a:p>
        </p:txBody>
      </p:sp>
      <p:sp>
        <p:nvSpPr>
          <p:cNvPr id="12" name="object 12"/>
          <p:cNvSpPr txBox="1"/>
          <p:nvPr/>
        </p:nvSpPr>
        <p:spPr>
          <a:xfrm>
            <a:off x="949553" y="5172202"/>
            <a:ext cx="7828280" cy="677108"/>
          </a:xfrm>
          <a:prstGeom prst="rect">
            <a:avLst/>
          </a:prstGeom>
        </p:spPr>
        <p:txBody>
          <a:bodyPr vert="horz" wrap="square" lIns="0" tIns="0" rIns="0" bIns="0" rtlCol="0">
            <a:spAutoFit/>
          </a:bodyPr>
          <a:lstStyle/>
          <a:p>
            <a:pPr marL="355600" indent="-342900">
              <a:lnSpc>
                <a:spcPct val="100000"/>
              </a:lnSpc>
              <a:buClr>
                <a:srgbClr val="00B0F0"/>
              </a:buClr>
              <a:buFont typeface="Wingdings" panose="05000000000000000000" pitchFamily="2" charset="2"/>
              <a:buChar char="§"/>
              <a:tabLst>
                <a:tab pos="354965" algn="l"/>
                <a:tab pos="356235" algn="l"/>
                <a:tab pos="1071245" algn="l"/>
                <a:tab pos="1976755" algn="l"/>
                <a:tab pos="2865755" algn="l"/>
                <a:tab pos="3295015" algn="l"/>
                <a:tab pos="4557395" algn="l"/>
                <a:tab pos="5412740" algn="l"/>
                <a:tab pos="6045200" algn="l"/>
                <a:tab pos="7084695" algn="l"/>
              </a:tabLst>
            </a:pPr>
            <a:r>
              <a:rPr sz="2200" dirty="0">
                <a:solidFill>
                  <a:srgbClr val="222222"/>
                </a:solidFill>
                <a:latin typeface="arial" panose="020B0604020202020204" pitchFamily="34" charset="0"/>
              </a:rPr>
              <a:t>The	word	itself	is	derived	from	the	Greek	word</a:t>
            </a:r>
          </a:p>
          <a:p>
            <a:pPr marL="355600">
              <a:lnSpc>
                <a:spcPct val="100000"/>
              </a:lnSpc>
              <a:buClr>
                <a:srgbClr val="00B0F0"/>
              </a:buClr>
            </a:pPr>
            <a:r>
              <a:rPr sz="2200" b="1" i="1" dirty="0">
                <a:solidFill>
                  <a:srgbClr val="222222"/>
                </a:solidFill>
                <a:latin typeface="arial" panose="020B0604020202020204" pitchFamily="34" charset="0"/>
              </a:rPr>
              <a:t>organon</a:t>
            </a:r>
            <a:r>
              <a:rPr sz="2200" dirty="0">
                <a:solidFill>
                  <a:srgbClr val="222222"/>
                </a:solidFill>
                <a:latin typeface="arial" panose="020B0604020202020204" pitchFamily="34" charset="0"/>
              </a:rPr>
              <a:t> meaning tool</a:t>
            </a:r>
          </a:p>
        </p:txBody>
      </p:sp>
      <p:sp>
        <p:nvSpPr>
          <p:cNvPr id="13" name="object 13"/>
          <p:cNvSpPr/>
          <p:nvPr/>
        </p:nvSpPr>
        <p:spPr>
          <a:xfrm>
            <a:off x="3733291" y="3130314"/>
            <a:ext cx="1823102" cy="1822685"/>
          </a:xfrm>
          <a:prstGeom prst="rect">
            <a:avLst/>
          </a:prstGeom>
          <a:blipFill>
            <a:blip r:embed="rId3" cstate="print"/>
            <a:stretch>
              <a:fillRect/>
            </a:stretch>
          </a:blipFill>
        </p:spPr>
        <p:txBody>
          <a:bodyPr wrap="square" lIns="0" tIns="0" rIns="0" bIns="0" rtlCol="0"/>
          <a:lstStyle/>
          <a:p>
            <a:endParaRPr/>
          </a:p>
        </p:txBody>
      </p:sp>
      <p:sp>
        <p:nvSpPr>
          <p:cNvPr id="15" name="object 15"/>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5</a:t>
            </a:fld>
            <a:endParaRPr sz="1200">
              <a:latin typeface="Symbol"/>
              <a:cs typeface="Symbol"/>
            </a:endParaRPr>
          </a:p>
        </p:txBody>
      </p:sp>
      <p:sp>
        <p:nvSpPr>
          <p:cNvPr id="17" name="Rectangle 16"/>
          <p:cNvSpPr/>
          <p:nvPr/>
        </p:nvSpPr>
        <p:spPr>
          <a:xfrm>
            <a:off x="1143000" y="1692517"/>
            <a:ext cx="7543800" cy="769441"/>
          </a:xfrm>
          <a:prstGeom prst="rect">
            <a:avLst/>
          </a:prstGeom>
        </p:spPr>
        <p:txBody>
          <a:bodyPr wrap="square">
            <a:spAutoFit/>
          </a:bodyPr>
          <a:lstStyle/>
          <a:p>
            <a:pPr marL="285750" indent="-285750">
              <a:buClr>
                <a:srgbClr val="00B0F0"/>
              </a:buClr>
              <a:buFont typeface="Wingdings" panose="05000000000000000000" pitchFamily="2" charset="2"/>
              <a:buChar char="§"/>
            </a:pPr>
            <a:r>
              <a:rPr lang="en-US" sz="2200" dirty="0">
                <a:solidFill>
                  <a:srgbClr val="222222"/>
                </a:solidFill>
                <a:latin typeface="arial" panose="020B0604020202020204" pitchFamily="34" charset="0"/>
              </a:rPr>
              <a:t>A</a:t>
            </a:r>
            <a:r>
              <a:rPr lang="en-US" sz="2200" b="0" i="0" dirty="0" smtClean="0">
                <a:solidFill>
                  <a:srgbClr val="222222"/>
                </a:solidFill>
                <a:effectLst/>
                <a:latin typeface="arial" panose="020B0604020202020204" pitchFamily="34" charset="0"/>
              </a:rPr>
              <a:t>n organized group of people with a particular purpose, such as a business or government department</a:t>
            </a:r>
            <a:endParaRPr lang="en-US" sz="2200"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object 2"/>
          <p:cNvSpPr/>
          <p:nvPr/>
        </p:nvSpPr>
        <p:spPr>
          <a:xfrm>
            <a:off x="1873250" y="2057400"/>
            <a:ext cx="5486400" cy="1236980"/>
          </a:xfrm>
          <a:custGeom>
            <a:avLst/>
            <a:gdLst/>
            <a:ahLst/>
            <a:cxnLst/>
            <a:rect l="l" t="t" r="r" b="b"/>
            <a:pathLst>
              <a:path w="5486400" h="1236979">
                <a:moveTo>
                  <a:pt x="2743200" y="0"/>
                </a:moveTo>
                <a:lnTo>
                  <a:pt x="2595143" y="885"/>
                </a:lnTo>
                <a:lnTo>
                  <a:pt x="2376961" y="5463"/>
                </a:lnTo>
                <a:lnTo>
                  <a:pt x="2164061" y="13807"/>
                </a:lnTo>
                <a:lnTo>
                  <a:pt x="1957114" y="25764"/>
                </a:lnTo>
                <a:lnTo>
                  <a:pt x="1756793" y="41184"/>
                </a:lnTo>
                <a:lnTo>
                  <a:pt x="1627258" y="53313"/>
                </a:lnTo>
                <a:lnTo>
                  <a:pt x="1501165" y="66868"/>
                </a:lnTo>
                <a:lnTo>
                  <a:pt x="1378714" y="81806"/>
                </a:lnTo>
                <a:lnTo>
                  <a:pt x="1260104" y="98080"/>
                </a:lnTo>
                <a:lnTo>
                  <a:pt x="1145532" y="115646"/>
                </a:lnTo>
                <a:lnTo>
                  <a:pt x="1035200" y="134460"/>
                </a:lnTo>
                <a:lnTo>
                  <a:pt x="929305" y="154475"/>
                </a:lnTo>
                <a:lnTo>
                  <a:pt x="878084" y="164920"/>
                </a:lnTo>
                <a:lnTo>
                  <a:pt x="828047" y="175648"/>
                </a:lnTo>
                <a:lnTo>
                  <a:pt x="779220" y="186655"/>
                </a:lnTo>
                <a:lnTo>
                  <a:pt x="731626" y="197934"/>
                </a:lnTo>
                <a:lnTo>
                  <a:pt x="685290" y="209480"/>
                </a:lnTo>
                <a:lnTo>
                  <a:pt x="640239" y="221288"/>
                </a:lnTo>
                <a:lnTo>
                  <a:pt x="596496" y="233351"/>
                </a:lnTo>
                <a:lnTo>
                  <a:pt x="554086" y="245664"/>
                </a:lnTo>
                <a:lnTo>
                  <a:pt x="513035" y="258221"/>
                </a:lnTo>
                <a:lnTo>
                  <a:pt x="473367" y="271018"/>
                </a:lnTo>
                <a:lnTo>
                  <a:pt x="435107" y="284048"/>
                </a:lnTo>
                <a:lnTo>
                  <a:pt x="398280" y="297305"/>
                </a:lnTo>
                <a:lnTo>
                  <a:pt x="329024" y="324480"/>
                </a:lnTo>
                <a:lnTo>
                  <a:pt x="265799" y="352499"/>
                </a:lnTo>
                <a:lnTo>
                  <a:pt x="208803" y="381316"/>
                </a:lnTo>
                <a:lnTo>
                  <a:pt x="158236" y="410886"/>
                </a:lnTo>
                <a:lnTo>
                  <a:pt x="114297" y="441166"/>
                </a:lnTo>
                <a:lnTo>
                  <a:pt x="77185" y="472109"/>
                </a:lnTo>
                <a:lnTo>
                  <a:pt x="47098" y="503670"/>
                </a:lnTo>
                <a:lnTo>
                  <a:pt x="24237" y="535806"/>
                </a:lnTo>
                <a:lnTo>
                  <a:pt x="3927" y="584988"/>
                </a:lnTo>
                <a:lnTo>
                  <a:pt x="0" y="618363"/>
                </a:lnTo>
                <a:lnTo>
                  <a:pt x="986" y="635105"/>
                </a:lnTo>
                <a:lnTo>
                  <a:pt x="15578" y="684650"/>
                </a:lnTo>
                <a:lnTo>
                  <a:pt x="47098" y="733055"/>
                </a:lnTo>
                <a:lnTo>
                  <a:pt x="77185" y="764616"/>
                </a:lnTo>
                <a:lnTo>
                  <a:pt x="114297" y="795559"/>
                </a:lnTo>
                <a:lnTo>
                  <a:pt x="158236" y="825839"/>
                </a:lnTo>
                <a:lnTo>
                  <a:pt x="208803" y="855409"/>
                </a:lnTo>
                <a:lnTo>
                  <a:pt x="265799" y="884226"/>
                </a:lnTo>
                <a:lnTo>
                  <a:pt x="329024" y="912245"/>
                </a:lnTo>
                <a:lnTo>
                  <a:pt x="398280" y="939420"/>
                </a:lnTo>
                <a:lnTo>
                  <a:pt x="435107" y="952677"/>
                </a:lnTo>
                <a:lnTo>
                  <a:pt x="473367" y="965707"/>
                </a:lnTo>
                <a:lnTo>
                  <a:pt x="513035" y="978504"/>
                </a:lnTo>
                <a:lnTo>
                  <a:pt x="554086" y="991061"/>
                </a:lnTo>
                <a:lnTo>
                  <a:pt x="596496" y="1003374"/>
                </a:lnTo>
                <a:lnTo>
                  <a:pt x="640239" y="1015437"/>
                </a:lnTo>
                <a:lnTo>
                  <a:pt x="685290" y="1027245"/>
                </a:lnTo>
                <a:lnTo>
                  <a:pt x="731626" y="1038791"/>
                </a:lnTo>
                <a:lnTo>
                  <a:pt x="779220" y="1050070"/>
                </a:lnTo>
                <a:lnTo>
                  <a:pt x="828047" y="1061077"/>
                </a:lnTo>
                <a:lnTo>
                  <a:pt x="878084" y="1071805"/>
                </a:lnTo>
                <a:lnTo>
                  <a:pt x="929305" y="1082250"/>
                </a:lnTo>
                <a:lnTo>
                  <a:pt x="981685" y="1092405"/>
                </a:lnTo>
                <a:lnTo>
                  <a:pt x="1089824" y="1111825"/>
                </a:lnTo>
                <a:lnTo>
                  <a:pt x="1202301" y="1130021"/>
                </a:lnTo>
                <a:lnTo>
                  <a:pt x="1318916" y="1146947"/>
                </a:lnTo>
                <a:lnTo>
                  <a:pt x="1439472" y="1162558"/>
                </a:lnTo>
                <a:lnTo>
                  <a:pt x="1563769" y="1176810"/>
                </a:lnTo>
                <a:lnTo>
                  <a:pt x="1691608" y="1189658"/>
                </a:lnTo>
                <a:lnTo>
                  <a:pt x="1889571" y="1206198"/>
                </a:lnTo>
                <a:lnTo>
                  <a:pt x="2094384" y="1219327"/>
                </a:lnTo>
                <a:lnTo>
                  <a:pt x="2305374" y="1228892"/>
                </a:lnTo>
                <a:lnTo>
                  <a:pt x="2521870" y="1234742"/>
                </a:lnTo>
                <a:lnTo>
                  <a:pt x="2743200" y="1236726"/>
                </a:lnTo>
                <a:lnTo>
                  <a:pt x="2817472" y="1236503"/>
                </a:lnTo>
                <a:lnTo>
                  <a:pt x="2891256" y="1235840"/>
                </a:lnTo>
                <a:lnTo>
                  <a:pt x="2964529" y="1234742"/>
                </a:lnTo>
                <a:lnTo>
                  <a:pt x="3037264" y="1233214"/>
                </a:lnTo>
                <a:lnTo>
                  <a:pt x="3109438" y="1231262"/>
                </a:lnTo>
                <a:lnTo>
                  <a:pt x="3181025" y="1228892"/>
                </a:lnTo>
                <a:lnTo>
                  <a:pt x="3252000" y="1226109"/>
                </a:lnTo>
                <a:lnTo>
                  <a:pt x="3322338" y="1222918"/>
                </a:lnTo>
                <a:lnTo>
                  <a:pt x="3392015" y="1219327"/>
                </a:lnTo>
                <a:lnTo>
                  <a:pt x="3596828" y="1206198"/>
                </a:lnTo>
                <a:lnTo>
                  <a:pt x="3794791" y="1189658"/>
                </a:lnTo>
                <a:lnTo>
                  <a:pt x="3922630" y="1176810"/>
                </a:lnTo>
                <a:lnTo>
                  <a:pt x="4046927" y="1162558"/>
                </a:lnTo>
                <a:lnTo>
                  <a:pt x="4167483" y="1146947"/>
                </a:lnTo>
                <a:lnTo>
                  <a:pt x="4284098" y="1130021"/>
                </a:lnTo>
                <a:lnTo>
                  <a:pt x="4396575" y="1111825"/>
                </a:lnTo>
                <a:lnTo>
                  <a:pt x="4504714" y="1092405"/>
                </a:lnTo>
                <a:lnTo>
                  <a:pt x="4557094" y="1082250"/>
                </a:lnTo>
                <a:lnTo>
                  <a:pt x="4608315" y="1071805"/>
                </a:lnTo>
                <a:lnTo>
                  <a:pt x="4658352" y="1061077"/>
                </a:lnTo>
                <a:lnTo>
                  <a:pt x="4707179" y="1050070"/>
                </a:lnTo>
                <a:lnTo>
                  <a:pt x="4754773" y="1038791"/>
                </a:lnTo>
                <a:lnTo>
                  <a:pt x="4801109" y="1027245"/>
                </a:lnTo>
                <a:lnTo>
                  <a:pt x="4846160" y="1015437"/>
                </a:lnTo>
                <a:lnTo>
                  <a:pt x="4889903" y="1003374"/>
                </a:lnTo>
                <a:lnTo>
                  <a:pt x="4932313" y="991061"/>
                </a:lnTo>
                <a:lnTo>
                  <a:pt x="4973364" y="978504"/>
                </a:lnTo>
                <a:lnTo>
                  <a:pt x="5013032" y="965707"/>
                </a:lnTo>
                <a:lnTo>
                  <a:pt x="5051292" y="952677"/>
                </a:lnTo>
                <a:lnTo>
                  <a:pt x="5088119" y="939420"/>
                </a:lnTo>
                <a:lnTo>
                  <a:pt x="5157375" y="912245"/>
                </a:lnTo>
                <a:lnTo>
                  <a:pt x="5220600" y="884226"/>
                </a:lnTo>
                <a:lnTo>
                  <a:pt x="5277596" y="855409"/>
                </a:lnTo>
                <a:lnTo>
                  <a:pt x="5328163" y="825839"/>
                </a:lnTo>
                <a:lnTo>
                  <a:pt x="5372102" y="795559"/>
                </a:lnTo>
                <a:lnTo>
                  <a:pt x="5409214" y="764616"/>
                </a:lnTo>
                <a:lnTo>
                  <a:pt x="5439301" y="733055"/>
                </a:lnTo>
                <a:lnTo>
                  <a:pt x="5462162" y="700919"/>
                </a:lnTo>
                <a:lnTo>
                  <a:pt x="5482472" y="651737"/>
                </a:lnTo>
                <a:lnTo>
                  <a:pt x="5486400" y="618363"/>
                </a:lnTo>
                <a:lnTo>
                  <a:pt x="5485413" y="601620"/>
                </a:lnTo>
                <a:lnTo>
                  <a:pt x="5470821" y="552075"/>
                </a:lnTo>
                <a:lnTo>
                  <a:pt x="5439301" y="503670"/>
                </a:lnTo>
                <a:lnTo>
                  <a:pt x="5409214" y="472109"/>
                </a:lnTo>
                <a:lnTo>
                  <a:pt x="5372102" y="441166"/>
                </a:lnTo>
                <a:lnTo>
                  <a:pt x="5328163" y="410886"/>
                </a:lnTo>
                <a:lnTo>
                  <a:pt x="5277596" y="381316"/>
                </a:lnTo>
                <a:lnTo>
                  <a:pt x="5220600" y="352499"/>
                </a:lnTo>
                <a:lnTo>
                  <a:pt x="5157375" y="324480"/>
                </a:lnTo>
                <a:lnTo>
                  <a:pt x="5088119" y="297305"/>
                </a:lnTo>
                <a:lnTo>
                  <a:pt x="5051292" y="284048"/>
                </a:lnTo>
                <a:lnTo>
                  <a:pt x="5013032" y="271018"/>
                </a:lnTo>
                <a:lnTo>
                  <a:pt x="4973364" y="258221"/>
                </a:lnTo>
                <a:lnTo>
                  <a:pt x="4932313" y="245664"/>
                </a:lnTo>
                <a:lnTo>
                  <a:pt x="4889903" y="233351"/>
                </a:lnTo>
                <a:lnTo>
                  <a:pt x="4846160" y="221288"/>
                </a:lnTo>
                <a:lnTo>
                  <a:pt x="4801109" y="209480"/>
                </a:lnTo>
                <a:lnTo>
                  <a:pt x="4754773" y="197934"/>
                </a:lnTo>
                <a:lnTo>
                  <a:pt x="4707179" y="186655"/>
                </a:lnTo>
                <a:lnTo>
                  <a:pt x="4658352" y="175648"/>
                </a:lnTo>
                <a:lnTo>
                  <a:pt x="4608315" y="164920"/>
                </a:lnTo>
                <a:lnTo>
                  <a:pt x="4557094" y="154475"/>
                </a:lnTo>
                <a:lnTo>
                  <a:pt x="4451199" y="134460"/>
                </a:lnTo>
                <a:lnTo>
                  <a:pt x="4340867" y="115646"/>
                </a:lnTo>
                <a:lnTo>
                  <a:pt x="4226295" y="98080"/>
                </a:lnTo>
                <a:lnTo>
                  <a:pt x="4107685" y="81806"/>
                </a:lnTo>
                <a:lnTo>
                  <a:pt x="3985234" y="66868"/>
                </a:lnTo>
                <a:lnTo>
                  <a:pt x="3859141" y="53313"/>
                </a:lnTo>
                <a:lnTo>
                  <a:pt x="3729606" y="41184"/>
                </a:lnTo>
                <a:lnTo>
                  <a:pt x="3529285" y="25764"/>
                </a:lnTo>
                <a:lnTo>
                  <a:pt x="3322338" y="13807"/>
                </a:lnTo>
                <a:lnTo>
                  <a:pt x="3252000" y="10616"/>
                </a:lnTo>
                <a:lnTo>
                  <a:pt x="3181025" y="7833"/>
                </a:lnTo>
                <a:lnTo>
                  <a:pt x="3109438" y="5463"/>
                </a:lnTo>
                <a:lnTo>
                  <a:pt x="3037264" y="3511"/>
                </a:lnTo>
                <a:lnTo>
                  <a:pt x="2964529" y="1983"/>
                </a:lnTo>
                <a:lnTo>
                  <a:pt x="2891256" y="885"/>
                </a:lnTo>
                <a:lnTo>
                  <a:pt x="2817472" y="222"/>
                </a:lnTo>
                <a:lnTo>
                  <a:pt x="2743200" y="0"/>
                </a:lnTo>
                <a:close/>
              </a:path>
            </a:pathLst>
          </a:custGeom>
          <a:solidFill>
            <a:srgbClr val="003399"/>
          </a:solidFill>
        </p:spPr>
        <p:txBody>
          <a:bodyPr wrap="square" lIns="0" tIns="0" rIns="0" bIns="0" rtlCol="0"/>
          <a:lstStyle/>
          <a:p>
            <a:endParaRPr/>
          </a:p>
        </p:txBody>
      </p:sp>
      <p:sp>
        <p:nvSpPr>
          <p:cNvPr id="3" name="object 3"/>
          <p:cNvSpPr txBox="1"/>
          <p:nvPr/>
        </p:nvSpPr>
        <p:spPr>
          <a:xfrm>
            <a:off x="2404617" y="2420620"/>
            <a:ext cx="4425315" cy="496570"/>
          </a:xfrm>
          <a:prstGeom prst="rect">
            <a:avLst/>
          </a:prstGeom>
        </p:spPr>
        <p:txBody>
          <a:bodyPr vert="horz" wrap="square" lIns="0" tIns="0" rIns="0" bIns="0" rtlCol="0">
            <a:spAutoFit/>
          </a:bodyPr>
          <a:lstStyle/>
          <a:p>
            <a:pPr marL="12700">
              <a:lnSpc>
                <a:spcPct val="100000"/>
              </a:lnSpc>
            </a:pPr>
            <a:r>
              <a:rPr sz="3200" b="1" i="1" dirty="0">
                <a:solidFill>
                  <a:srgbClr val="FFFFFF"/>
                </a:solidFill>
                <a:latin typeface="Arial"/>
                <a:cs typeface="Arial"/>
              </a:rPr>
              <a:t>Organization</a:t>
            </a:r>
            <a:r>
              <a:rPr sz="3200" b="1" i="1" spc="-140" dirty="0">
                <a:solidFill>
                  <a:srgbClr val="FFFFFF"/>
                </a:solidFill>
                <a:latin typeface="Arial"/>
                <a:cs typeface="Arial"/>
              </a:rPr>
              <a:t> </a:t>
            </a:r>
            <a:r>
              <a:rPr sz="3200" b="1" i="1" dirty="0">
                <a:solidFill>
                  <a:srgbClr val="FFFFFF"/>
                </a:solidFill>
                <a:latin typeface="Arial"/>
                <a:cs typeface="Arial"/>
              </a:rPr>
              <a:t>Structure</a:t>
            </a:r>
            <a:endParaRPr sz="3200">
              <a:latin typeface="Arial"/>
              <a:cs typeface="Arial"/>
            </a:endParaRPr>
          </a:p>
        </p:txBody>
      </p:sp>
      <p:sp>
        <p:nvSpPr>
          <p:cNvPr id="4" name="object 4"/>
          <p:cNvSpPr/>
          <p:nvPr/>
        </p:nvSpPr>
        <p:spPr>
          <a:xfrm>
            <a:off x="3962400" y="1046988"/>
            <a:ext cx="1328927" cy="1295400"/>
          </a:xfrm>
          <a:prstGeom prst="rect">
            <a:avLst/>
          </a:prstGeom>
          <a:blipFill>
            <a:blip r:embed="rId3" cstate="print"/>
            <a:stretch>
              <a:fillRect/>
            </a:stretch>
          </a:blipFill>
        </p:spPr>
        <p:txBody>
          <a:bodyPr wrap="square" lIns="0" tIns="0" rIns="0" bIns="0" rtlCol="0"/>
          <a:lstStyle/>
          <a:p>
            <a:endParaRPr/>
          </a:p>
        </p:txBody>
      </p:sp>
      <p:sp>
        <p:nvSpPr>
          <p:cNvPr id="5" name="object 5"/>
          <p:cNvSpPr/>
          <p:nvPr/>
        </p:nvSpPr>
        <p:spPr>
          <a:xfrm>
            <a:off x="4012691" y="1097280"/>
            <a:ext cx="1328927" cy="1296924"/>
          </a:xfrm>
          <a:prstGeom prst="rect">
            <a:avLst/>
          </a:prstGeom>
          <a:blipFill>
            <a:blip r:embed="rId4" cstate="print"/>
            <a:stretch>
              <a:fillRect/>
            </a:stretch>
          </a:blipFill>
        </p:spPr>
        <p:txBody>
          <a:bodyPr wrap="square" lIns="0" tIns="0" rIns="0" bIns="0" rtlCol="0"/>
          <a:lstStyle/>
          <a:p>
            <a:endParaRPr/>
          </a:p>
        </p:txBody>
      </p:sp>
      <p:sp>
        <p:nvSpPr>
          <p:cNvPr id="6" name="object 6"/>
          <p:cNvSpPr/>
          <p:nvPr/>
        </p:nvSpPr>
        <p:spPr>
          <a:xfrm>
            <a:off x="3989451" y="1073150"/>
            <a:ext cx="1325499" cy="1293876"/>
          </a:xfrm>
          <a:prstGeom prst="rect">
            <a:avLst/>
          </a:prstGeom>
          <a:blipFill>
            <a:blip r:embed="rId5" cstate="print"/>
            <a:stretch>
              <a:fillRect/>
            </a:stretch>
          </a:blipFill>
        </p:spPr>
        <p:txBody>
          <a:bodyPr wrap="square" lIns="0" tIns="0" rIns="0" bIns="0" rtlCol="0"/>
          <a:lstStyle/>
          <a:p>
            <a:endParaRPr/>
          </a:p>
        </p:txBody>
      </p:sp>
      <p:sp>
        <p:nvSpPr>
          <p:cNvPr id="7" name="object 7"/>
          <p:cNvSpPr txBox="1"/>
          <p:nvPr/>
        </p:nvSpPr>
        <p:spPr>
          <a:xfrm>
            <a:off x="4153027" y="1177035"/>
            <a:ext cx="1017905" cy="224790"/>
          </a:xfrm>
          <a:prstGeom prst="rect">
            <a:avLst/>
          </a:prstGeom>
        </p:spPr>
        <p:txBody>
          <a:bodyPr vert="horz" wrap="square" lIns="0" tIns="0" rIns="0" bIns="0" rtlCol="0">
            <a:spAutoFit/>
          </a:bodyPr>
          <a:lstStyle/>
          <a:p>
            <a:pPr marL="12700">
              <a:lnSpc>
                <a:spcPct val="100000"/>
              </a:lnSpc>
            </a:pPr>
            <a:r>
              <a:rPr sz="1400" b="1" dirty="0">
                <a:latin typeface="Arial"/>
                <a:cs typeface="Arial"/>
              </a:rPr>
              <a:t>P</a:t>
            </a:r>
            <a:r>
              <a:rPr sz="1400" b="1" spc="-10" dirty="0">
                <a:latin typeface="Arial"/>
                <a:cs typeface="Arial"/>
              </a:rPr>
              <a:t>URCH</a:t>
            </a:r>
            <a:r>
              <a:rPr sz="1400" b="1" spc="-45" dirty="0">
                <a:latin typeface="Arial"/>
                <a:cs typeface="Arial"/>
              </a:rPr>
              <a:t>A</a:t>
            </a:r>
            <a:r>
              <a:rPr sz="1400" b="1" dirty="0">
                <a:latin typeface="Arial"/>
                <a:cs typeface="Arial"/>
              </a:rPr>
              <a:t>SE</a:t>
            </a:r>
            <a:endParaRPr sz="1400">
              <a:latin typeface="Arial"/>
              <a:cs typeface="Arial"/>
            </a:endParaRPr>
          </a:p>
        </p:txBody>
      </p:sp>
      <p:sp>
        <p:nvSpPr>
          <p:cNvPr id="8" name="object 8"/>
          <p:cNvSpPr/>
          <p:nvPr/>
        </p:nvSpPr>
        <p:spPr>
          <a:xfrm>
            <a:off x="5666232" y="1039367"/>
            <a:ext cx="1328928" cy="1296924"/>
          </a:xfrm>
          <a:prstGeom prst="rect">
            <a:avLst/>
          </a:prstGeom>
          <a:blipFill>
            <a:blip r:embed="rId6" cstate="print"/>
            <a:stretch>
              <a:fillRect/>
            </a:stretch>
          </a:blipFill>
        </p:spPr>
        <p:txBody>
          <a:bodyPr wrap="square" lIns="0" tIns="0" rIns="0" bIns="0" rtlCol="0"/>
          <a:lstStyle/>
          <a:p>
            <a:endParaRPr/>
          </a:p>
        </p:txBody>
      </p:sp>
      <p:sp>
        <p:nvSpPr>
          <p:cNvPr id="9" name="object 9"/>
          <p:cNvSpPr/>
          <p:nvPr/>
        </p:nvSpPr>
        <p:spPr>
          <a:xfrm>
            <a:off x="5716523" y="1091183"/>
            <a:ext cx="1328927" cy="1296924"/>
          </a:xfrm>
          <a:prstGeom prst="rect">
            <a:avLst/>
          </a:prstGeom>
          <a:blipFill>
            <a:blip r:embed="rId7" cstate="print"/>
            <a:stretch>
              <a:fillRect/>
            </a:stretch>
          </a:blipFill>
        </p:spPr>
        <p:txBody>
          <a:bodyPr wrap="square" lIns="0" tIns="0" rIns="0" bIns="0" rtlCol="0"/>
          <a:lstStyle/>
          <a:p>
            <a:endParaRPr/>
          </a:p>
        </p:txBody>
      </p:sp>
      <p:sp>
        <p:nvSpPr>
          <p:cNvPr id="10" name="object 10"/>
          <p:cNvSpPr/>
          <p:nvPr/>
        </p:nvSpPr>
        <p:spPr>
          <a:xfrm>
            <a:off x="5692775" y="1066800"/>
            <a:ext cx="1325626" cy="1293876"/>
          </a:xfrm>
          <a:prstGeom prst="rect">
            <a:avLst/>
          </a:prstGeom>
          <a:blipFill>
            <a:blip r:embed="rId8" cstate="print"/>
            <a:stretch>
              <a:fillRect/>
            </a:stretch>
          </a:blipFill>
        </p:spPr>
        <p:txBody>
          <a:bodyPr wrap="square" lIns="0" tIns="0" rIns="0" bIns="0" rtlCol="0"/>
          <a:lstStyle/>
          <a:p>
            <a:endParaRPr/>
          </a:p>
        </p:txBody>
      </p:sp>
      <p:sp>
        <p:nvSpPr>
          <p:cNvPr id="11" name="object 11"/>
          <p:cNvSpPr txBox="1"/>
          <p:nvPr/>
        </p:nvSpPr>
        <p:spPr>
          <a:xfrm>
            <a:off x="5872353" y="1153286"/>
            <a:ext cx="1054100" cy="224790"/>
          </a:xfrm>
          <a:prstGeom prst="rect">
            <a:avLst/>
          </a:prstGeom>
        </p:spPr>
        <p:txBody>
          <a:bodyPr vert="horz" wrap="square" lIns="0" tIns="0" rIns="0" bIns="0" rtlCol="0">
            <a:spAutoFit/>
          </a:bodyPr>
          <a:lstStyle/>
          <a:p>
            <a:pPr marL="12700">
              <a:lnSpc>
                <a:spcPct val="100000"/>
              </a:lnSpc>
            </a:pPr>
            <a:r>
              <a:rPr sz="1400" b="1" dirty="0">
                <a:latin typeface="Arial"/>
                <a:cs typeface="Arial"/>
              </a:rPr>
              <a:t>I</a:t>
            </a:r>
            <a:r>
              <a:rPr sz="1400" b="1" spc="-10" dirty="0">
                <a:latin typeface="Arial"/>
                <a:cs typeface="Arial"/>
              </a:rPr>
              <a:t>N</a:t>
            </a:r>
            <a:r>
              <a:rPr sz="1400" b="1" dirty="0">
                <a:latin typeface="Arial"/>
                <a:cs typeface="Arial"/>
              </a:rPr>
              <a:t>VE</a:t>
            </a:r>
            <a:r>
              <a:rPr sz="1400" b="1" spc="-10" dirty="0">
                <a:latin typeface="Arial"/>
                <a:cs typeface="Arial"/>
              </a:rPr>
              <a:t>N</a:t>
            </a:r>
            <a:r>
              <a:rPr sz="1400" b="1" spc="-30" dirty="0">
                <a:latin typeface="Arial"/>
                <a:cs typeface="Arial"/>
              </a:rPr>
              <a:t>T</a:t>
            </a:r>
            <a:r>
              <a:rPr sz="1400" b="1" dirty="0">
                <a:latin typeface="Arial"/>
                <a:cs typeface="Arial"/>
              </a:rPr>
              <a:t>O</a:t>
            </a:r>
            <a:r>
              <a:rPr sz="1400" b="1" spc="-55" dirty="0">
                <a:latin typeface="Arial"/>
                <a:cs typeface="Arial"/>
              </a:rPr>
              <a:t>R</a:t>
            </a:r>
            <a:r>
              <a:rPr sz="1400" b="1" dirty="0">
                <a:latin typeface="Arial"/>
                <a:cs typeface="Arial"/>
              </a:rPr>
              <a:t>Y</a:t>
            </a:r>
            <a:endParaRPr sz="1400">
              <a:latin typeface="Arial"/>
              <a:cs typeface="Arial"/>
            </a:endParaRPr>
          </a:p>
        </p:txBody>
      </p:sp>
      <p:sp>
        <p:nvSpPr>
          <p:cNvPr id="12" name="object 12"/>
          <p:cNvSpPr/>
          <p:nvPr/>
        </p:nvSpPr>
        <p:spPr>
          <a:xfrm>
            <a:off x="2270760" y="1091183"/>
            <a:ext cx="1327403" cy="1234439"/>
          </a:xfrm>
          <a:prstGeom prst="rect">
            <a:avLst/>
          </a:prstGeom>
          <a:blipFill>
            <a:blip r:embed="rId9" cstate="print"/>
            <a:stretch>
              <a:fillRect/>
            </a:stretch>
          </a:blipFill>
        </p:spPr>
        <p:txBody>
          <a:bodyPr wrap="square" lIns="0" tIns="0" rIns="0" bIns="0" rtlCol="0"/>
          <a:lstStyle/>
          <a:p>
            <a:endParaRPr/>
          </a:p>
        </p:txBody>
      </p:sp>
      <p:sp>
        <p:nvSpPr>
          <p:cNvPr id="13" name="object 13"/>
          <p:cNvSpPr/>
          <p:nvPr/>
        </p:nvSpPr>
        <p:spPr>
          <a:xfrm>
            <a:off x="2321051" y="1141475"/>
            <a:ext cx="1328927" cy="1234439"/>
          </a:xfrm>
          <a:prstGeom prst="rect">
            <a:avLst/>
          </a:prstGeom>
          <a:blipFill>
            <a:blip r:embed="rId10" cstate="print"/>
            <a:stretch>
              <a:fillRect/>
            </a:stretch>
          </a:blipFill>
        </p:spPr>
        <p:txBody>
          <a:bodyPr wrap="square" lIns="0" tIns="0" rIns="0" bIns="0" rtlCol="0"/>
          <a:lstStyle/>
          <a:p>
            <a:endParaRPr/>
          </a:p>
        </p:txBody>
      </p:sp>
      <p:sp>
        <p:nvSpPr>
          <p:cNvPr id="14" name="object 14"/>
          <p:cNvSpPr/>
          <p:nvPr/>
        </p:nvSpPr>
        <p:spPr>
          <a:xfrm>
            <a:off x="2297176" y="1117600"/>
            <a:ext cx="1325499" cy="1231900"/>
          </a:xfrm>
          <a:prstGeom prst="rect">
            <a:avLst/>
          </a:prstGeom>
          <a:blipFill>
            <a:blip r:embed="rId11" cstate="print"/>
            <a:stretch>
              <a:fillRect/>
            </a:stretch>
          </a:blipFill>
        </p:spPr>
        <p:txBody>
          <a:bodyPr wrap="square" lIns="0" tIns="0" rIns="0" bIns="0" rtlCol="0"/>
          <a:lstStyle/>
          <a:p>
            <a:endParaRPr/>
          </a:p>
        </p:txBody>
      </p:sp>
      <p:sp>
        <p:nvSpPr>
          <p:cNvPr id="15" name="object 15"/>
          <p:cNvSpPr txBox="1"/>
          <p:nvPr/>
        </p:nvSpPr>
        <p:spPr>
          <a:xfrm>
            <a:off x="2552445" y="1164209"/>
            <a:ext cx="810260" cy="224790"/>
          </a:xfrm>
          <a:prstGeom prst="rect">
            <a:avLst/>
          </a:prstGeom>
        </p:spPr>
        <p:txBody>
          <a:bodyPr vert="horz" wrap="square" lIns="0" tIns="0" rIns="0" bIns="0" rtlCol="0">
            <a:spAutoFit/>
          </a:bodyPr>
          <a:lstStyle/>
          <a:p>
            <a:pPr marL="12700">
              <a:lnSpc>
                <a:spcPct val="100000"/>
              </a:lnSpc>
            </a:pPr>
            <a:r>
              <a:rPr sz="1400" b="1" spc="-10" dirty="0">
                <a:latin typeface="Arial"/>
                <a:cs typeface="Arial"/>
              </a:rPr>
              <a:t>F</a:t>
            </a:r>
            <a:r>
              <a:rPr sz="1400" b="1" dirty="0">
                <a:latin typeface="Arial"/>
                <a:cs typeface="Arial"/>
              </a:rPr>
              <a:t>I</a:t>
            </a:r>
            <a:r>
              <a:rPr sz="1400" b="1" spc="-10" dirty="0">
                <a:latin typeface="Arial"/>
                <a:cs typeface="Arial"/>
              </a:rPr>
              <a:t>N</a:t>
            </a:r>
            <a:r>
              <a:rPr sz="1400" b="1" spc="-45" dirty="0">
                <a:latin typeface="Arial"/>
                <a:cs typeface="Arial"/>
              </a:rPr>
              <a:t>A</a:t>
            </a:r>
            <a:r>
              <a:rPr sz="1400" b="1" spc="-10" dirty="0">
                <a:latin typeface="Arial"/>
                <a:cs typeface="Arial"/>
              </a:rPr>
              <a:t>NC</a:t>
            </a:r>
            <a:r>
              <a:rPr sz="1400" b="1" dirty="0">
                <a:latin typeface="Arial"/>
                <a:cs typeface="Arial"/>
              </a:rPr>
              <a:t>E</a:t>
            </a:r>
            <a:endParaRPr sz="1400">
              <a:latin typeface="Arial"/>
              <a:cs typeface="Arial"/>
            </a:endParaRPr>
          </a:p>
        </p:txBody>
      </p:sp>
      <p:sp>
        <p:nvSpPr>
          <p:cNvPr id="16" name="object 16"/>
          <p:cNvSpPr/>
          <p:nvPr/>
        </p:nvSpPr>
        <p:spPr>
          <a:xfrm>
            <a:off x="2287523" y="3037332"/>
            <a:ext cx="2072639" cy="1767839"/>
          </a:xfrm>
          <a:prstGeom prst="rect">
            <a:avLst/>
          </a:prstGeom>
          <a:blipFill>
            <a:blip r:embed="rId12" cstate="print"/>
            <a:stretch>
              <a:fillRect/>
            </a:stretch>
          </a:blipFill>
        </p:spPr>
        <p:txBody>
          <a:bodyPr wrap="square" lIns="0" tIns="0" rIns="0" bIns="0" rtlCol="0"/>
          <a:lstStyle/>
          <a:p>
            <a:endParaRPr/>
          </a:p>
        </p:txBody>
      </p:sp>
      <p:sp>
        <p:nvSpPr>
          <p:cNvPr id="17" name="object 17"/>
          <p:cNvSpPr/>
          <p:nvPr/>
        </p:nvSpPr>
        <p:spPr>
          <a:xfrm>
            <a:off x="3200400" y="4447032"/>
            <a:ext cx="358139" cy="307848"/>
          </a:xfrm>
          <a:prstGeom prst="rect">
            <a:avLst/>
          </a:prstGeom>
          <a:blipFill>
            <a:blip r:embed="rId13" cstate="print"/>
            <a:stretch>
              <a:fillRect/>
            </a:stretch>
          </a:blipFill>
        </p:spPr>
        <p:txBody>
          <a:bodyPr wrap="square" lIns="0" tIns="0" rIns="0" bIns="0" rtlCol="0"/>
          <a:lstStyle/>
          <a:p>
            <a:endParaRPr/>
          </a:p>
        </p:txBody>
      </p:sp>
      <p:sp>
        <p:nvSpPr>
          <p:cNvPr id="18" name="object 18"/>
          <p:cNvSpPr/>
          <p:nvPr/>
        </p:nvSpPr>
        <p:spPr>
          <a:xfrm>
            <a:off x="2244725" y="2981325"/>
            <a:ext cx="2057400" cy="1752600"/>
          </a:xfrm>
          <a:custGeom>
            <a:avLst/>
            <a:gdLst/>
            <a:ahLst/>
            <a:cxnLst/>
            <a:rect l="l" t="t" r="r" b="b"/>
            <a:pathLst>
              <a:path w="2057400" h="1752600">
                <a:moveTo>
                  <a:pt x="0" y="1752600"/>
                </a:moveTo>
                <a:lnTo>
                  <a:pt x="2057400" y="1752600"/>
                </a:lnTo>
                <a:lnTo>
                  <a:pt x="2057400" y="0"/>
                </a:lnTo>
                <a:lnTo>
                  <a:pt x="0" y="0"/>
                </a:lnTo>
                <a:lnTo>
                  <a:pt x="0" y="1752600"/>
                </a:lnTo>
                <a:close/>
              </a:path>
            </a:pathLst>
          </a:custGeom>
          <a:solidFill>
            <a:srgbClr val="FFFFCC"/>
          </a:solidFill>
        </p:spPr>
        <p:txBody>
          <a:bodyPr wrap="square" lIns="0" tIns="0" rIns="0" bIns="0" rtlCol="0"/>
          <a:lstStyle/>
          <a:p>
            <a:endParaRPr/>
          </a:p>
        </p:txBody>
      </p:sp>
      <p:sp>
        <p:nvSpPr>
          <p:cNvPr id="19" name="object 19"/>
          <p:cNvSpPr txBox="1"/>
          <p:nvPr/>
        </p:nvSpPr>
        <p:spPr>
          <a:xfrm>
            <a:off x="2244725" y="2981325"/>
            <a:ext cx="2057400" cy="1752600"/>
          </a:xfrm>
          <a:prstGeom prst="rect">
            <a:avLst/>
          </a:prstGeom>
          <a:ln w="12700">
            <a:solidFill>
              <a:srgbClr val="FFFF99"/>
            </a:solidFill>
          </a:ln>
        </p:spPr>
        <p:txBody>
          <a:bodyPr vert="horz" wrap="square" lIns="0" tIns="0" rIns="0" bIns="0" rtlCol="0">
            <a:spAutoFit/>
          </a:bodyPr>
          <a:lstStyle/>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spcBef>
                <a:spcPts val="45"/>
              </a:spcBef>
            </a:pPr>
            <a:endParaRPr sz="1900">
              <a:latin typeface="Times New Roman"/>
              <a:cs typeface="Times New Roman"/>
            </a:endParaRPr>
          </a:p>
          <a:p>
            <a:pPr marL="399415" marR="441325">
              <a:lnSpc>
                <a:spcPct val="100000"/>
              </a:lnSpc>
            </a:pPr>
            <a:r>
              <a:rPr sz="1400" b="1" spc="-10" dirty="0">
                <a:latin typeface="Arial"/>
                <a:cs typeface="Arial"/>
              </a:rPr>
              <a:t>PLANNING </a:t>
            </a:r>
            <a:r>
              <a:rPr sz="1400" b="1" dirty="0">
                <a:latin typeface="Arial"/>
                <a:cs typeface="Arial"/>
              </a:rPr>
              <a:t>&amp;  </a:t>
            </a:r>
            <a:r>
              <a:rPr sz="1400" b="1" spc="-5" dirty="0">
                <a:latin typeface="Arial"/>
                <a:cs typeface="Arial"/>
              </a:rPr>
              <a:t>PRODUCTION</a:t>
            </a:r>
            <a:endParaRPr sz="1400">
              <a:latin typeface="Arial"/>
              <a:cs typeface="Arial"/>
            </a:endParaRPr>
          </a:p>
        </p:txBody>
      </p:sp>
      <p:sp>
        <p:nvSpPr>
          <p:cNvPr id="20" name="object 20"/>
          <p:cNvSpPr/>
          <p:nvPr/>
        </p:nvSpPr>
        <p:spPr>
          <a:xfrm>
            <a:off x="2321539" y="2994899"/>
            <a:ext cx="992679" cy="976415"/>
          </a:xfrm>
          <a:prstGeom prst="rect">
            <a:avLst/>
          </a:prstGeom>
          <a:blipFill>
            <a:blip r:embed="rId14" cstate="print"/>
            <a:stretch>
              <a:fillRect/>
            </a:stretch>
          </a:blipFill>
        </p:spPr>
        <p:txBody>
          <a:bodyPr wrap="square" lIns="0" tIns="0" rIns="0" bIns="0" rtlCol="0"/>
          <a:lstStyle/>
          <a:p>
            <a:endParaRPr/>
          </a:p>
        </p:txBody>
      </p:sp>
      <p:sp>
        <p:nvSpPr>
          <p:cNvPr id="21" name="object 21"/>
          <p:cNvSpPr/>
          <p:nvPr/>
        </p:nvSpPr>
        <p:spPr>
          <a:xfrm>
            <a:off x="3389376" y="3086100"/>
            <a:ext cx="838200" cy="727075"/>
          </a:xfrm>
          <a:prstGeom prst="rect">
            <a:avLst/>
          </a:prstGeom>
          <a:blipFill>
            <a:blip r:embed="rId15" cstate="print"/>
            <a:stretch>
              <a:fillRect/>
            </a:stretch>
          </a:blipFill>
        </p:spPr>
        <p:txBody>
          <a:bodyPr wrap="square" lIns="0" tIns="0" rIns="0" bIns="0" rtlCol="0"/>
          <a:lstStyle/>
          <a:p>
            <a:endParaRPr/>
          </a:p>
        </p:txBody>
      </p:sp>
      <p:sp>
        <p:nvSpPr>
          <p:cNvPr id="22" name="object 22"/>
          <p:cNvSpPr/>
          <p:nvPr/>
        </p:nvSpPr>
        <p:spPr>
          <a:xfrm>
            <a:off x="4995671" y="3037332"/>
            <a:ext cx="2074164" cy="1767839"/>
          </a:xfrm>
          <a:prstGeom prst="rect">
            <a:avLst/>
          </a:prstGeom>
          <a:blipFill>
            <a:blip r:embed="rId16" cstate="print"/>
            <a:stretch>
              <a:fillRect/>
            </a:stretch>
          </a:blipFill>
        </p:spPr>
        <p:txBody>
          <a:bodyPr wrap="square" lIns="0" tIns="0" rIns="0" bIns="0" rtlCol="0"/>
          <a:lstStyle/>
          <a:p>
            <a:endParaRPr/>
          </a:p>
        </p:txBody>
      </p:sp>
      <p:sp>
        <p:nvSpPr>
          <p:cNvPr id="23" name="object 23"/>
          <p:cNvSpPr/>
          <p:nvPr/>
        </p:nvSpPr>
        <p:spPr>
          <a:xfrm>
            <a:off x="5908547" y="4447032"/>
            <a:ext cx="358139" cy="307848"/>
          </a:xfrm>
          <a:prstGeom prst="rect">
            <a:avLst/>
          </a:prstGeom>
          <a:blipFill>
            <a:blip r:embed="rId13" cstate="print"/>
            <a:stretch>
              <a:fillRect/>
            </a:stretch>
          </a:blipFill>
        </p:spPr>
        <p:txBody>
          <a:bodyPr wrap="square" lIns="0" tIns="0" rIns="0" bIns="0" rtlCol="0"/>
          <a:lstStyle/>
          <a:p>
            <a:endParaRPr/>
          </a:p>
        </p:txBody>
      </p:sp>
      <p:sp>
        <p:nvSpPr>
          <p:cNvPr id="24" name="object 24"/>
          <p:cNvSpPr/>
          <p:nvPr/>
        </p:nvSpPr>
        <p:spPr>
          <a:xfrm>
            <a:off x="4953000" y="2981325"/>
            <a:ext cx="2057400" cy="1752600"/>
          </a:xfrm>
          <a:custGeom>
            <a:avLst/>
            <a:gdLst/>
            <a:ahLst/>
            <a:cxnLst/>
            <a:rect l="l" t="t" r="r" b="b"/>
            <a:pathLst>
              <a:path w="2057400" h="1752600">
                <a:moveTo>
                  <a:pt x="0" y="1752600"/>
                </a:moveTo>
                <a:lnTo>
                  <a:pt x="2057400" y="1752600"/>
                </a:lnTo>
                <a:lnTo>
                  <a:pt x="2057400" y="0"/>
                </a:lnTo>
                <a:lnTo>
                  <a:pt x="0" y="0"/>
                </a:lnTo>
                <a:lnTo>
                  <a:pt x="0" y="1752600"/>
                </a:lnTo>
                <a:close/>
              </a:path>
            </a:pathLst>
          </a:custGeom>
          <a:solidFill>
            <a:srgbClr val="FFFFCC"/>
          </a:solidFill>
        </p:spPr>
        <p:txBody>
          <a:bodyPr wrap="square" lIns="0" tIns="0" rIns="0" bIns="0" rtlCol="0"/>
          <a:lstStyle/>
          <a:p>
            <a:endParaRPr/>
          </a:p>
        </p:txBody>
      </p:sp>
      <p:sp>
        <p:nvSpPr>
          <p:cNvPr id="25" name="object 25"/>
          <p:cNvSpPr/>
          <p:nvPr/>
        </p:nvSpPr>
        <p:spPr>
          <a:xfrm>
            <a:off x="4953000" y="3048000"/>
            <a:ext cx="2076450" cy="857250"/>
          </a:xfrm>
          <a:prstGeom prst="rect">
            <a:avLst/>
          </a:prstGeom>
          <a:blipFill>
            <a:blip r:embed="rId17" cstate="print"/>
            <a:stretch>
              <a:fillRect/>
            </a:stretch>
          </a:blipFill>
        </p:spPr>
        <p:txBody>
          <a:bodyPr wrap="square" lIns="0" tIns="0" rIns="0" bIns="0" rtlCol="0"/>
          <a:lstStyle/>
          <a:p>
            <a:endParaRPr/>
          </a:p>
        </p:txBody>
      </p:sp>
      <p:sp>
        <p:nvSpPr>
          <p:cNvPr id="26" name="object 26"/>
          <p:cNvSpPr/>
          <p:nvPr/>
        </p:nvSpPr>
        <p:spPr>
          <a:xfrm>
            <a:off x="6705345" y="4036314"/>
            <a:ext cx="50800" cy="70485"/>
          </a:xfrm>
          <a:custGeom>
            <a:avLst/>
            <a:gdLst/>
            <a:ahLst/>
            <a:cxnLst/>
            <a:rect l="l" t="t" r="r" b="b"/>
            <a:pathLst>
              <a:path w="50800" h="70485">
                <a:moveTo>
                  <a:pt x="2285" y="0"/>
                </a:moveTo>
                <a:lnTo>
                  <a:pt x="0" y="16763"/>
                </a:lnTo>
                <a:lnTo>
                  <a:pt x="13461" y="24384"/>
                </a:lnTo>
                <a:lnTo>
                  <a:pt x="6984" y="70485"/>
                </a:lnTo>
                <a:lnTo>
                  <a:pt x="23368" y="70485"/>
                </a:lnTo>
                <a:lnTo>
                  <a:pt x="29336" y="24384"/>
                </a:lnTo>
                <a:lnTo>
                  <a:pt x="49409" y="24384"/>
                </a:lnTo>
                <a:lnTo>
                  <a:pt x="50419" y="9652"/>
                </a:lnTo>
                <a:lnTo>
                  <a:pt x="2285" y="0"/>
                </a:lnTo>
                <a:close/>
              </a:path>
              <a:path w="50800" h="70485">
                <a:moveTo>
                  <a:pt x="49409" y="24384"/>
                </a:moveTo>
                <a:lnTo>
                  <a:pt x="29336" y="24384"/>
                </a:lnTo>
                <a:lnTo>
                  <a:pt x="49149" y="28193"/>
                </a:lnTo>
                <a:lnTo>
                  <a:pt x="49409" y="24384"/>
                </a:lnTo>
                <a:close/>
              </a:path>
            </a:pathLst>
          </a:custGeom>
          <a:solidFill>
            <a:srgbClr val="899989"/>
          </a:solidFill>
        </p:spPr>
        <p:txBody>
          <a:bodyPr wrap="square" lIns="0" tIns="0" rIns="0" bIns="0" rtlCol="0"/>
          <a:lstStyle/>
          <a:p>
            <a:endParaRPr/>
          </a:p>
        </p:txBody>
      </p:sp>
      <p:sp>
        <p:nvSpPr>
          <p:cNvPr id="27" name="object 27"/>
          <p:cNvSpPr/>
          <p:nvPr/>
        </p:nvSpPr>
        <p:spPr>
          <a:xfrm>
            <a:off x="6712457" y="3977385"/>
            <a:ext cx="31750" cy="33655"/>
          </a:xfrm>
          <a:custGeom>
            <a:avLst/>
            <a:gdLst/>
            <a:ahLst/>
            <a:cxnLst/>
            <a:rect l="l" t="t" r="r" b="b"/>
            <a:pathLst>
              <a:path w="31750" h="33654">
                <a:moveTo>
                  <a:pt x="18669" y="0"/>
                </a:moveTo>
                <a:lnTo>
                  <a:pt x="12700" y="0"/>
                </a:lnTo>
                <a:lnTo>
                  <a:pt x="9651" y="1269"/>
                </a:lnTo>
                <a:lnTo>
                  <a:pt x="7239" y="2539"/>
                </a:lnTo>
                <a:lnTo>
                  <a:pt x="4825" y="5206"/>
                </a:lnTo>
                <a:lnTo>
                  <a:pt x="2413" y="7746"/>
                </a:lnTo>
                <a:lnTo>
                  <a:pt x="1270" y="10287"/>
                </a:lnTo>
                <a:lnTo>
                  <a:pt x="0" y="13462"/>
                </a:lnTo>
                <a:lnTo>
                  <a:pt x="0" y="19938"/>
                </a:lnTo>
                <a:lnTo>
                  <a:pt x="12700" y="33400"/>
                </a:lnTo>
                <a:lnTo>
                  <a:pt x="18669" y="33400"/>
                </a:lnTo>
                <a:lnTo>
                  <a:pt x="31242" y="19938"/>
                </a:lnTo>
                <a:lnTo>
                  <a:pt x="31242" y="13462"/>
                </a:lnTo>
                <a:lnTo>
                  <a:pt x="30099" y="10287"/>
                </a:lnTo>
                <a:lnTo>
                  <a:pt x="28828" y="7746"/>
                </a:lnTo>
                <a:lnTo>
                  <a:pt x="26416" y="5206"/>
                </a:lnTo>
                <a:lnTo>
                  <a:pt x="24002" y="2539"/>
                </a:lnTo>
                <a:lnTo>
                  <a:pt x="22225" y="1269"/>
                </a:lnTo>
                <a:lnTo>
                  <a:pt x="18669" y="0"/>
                </a:lnTo>
                <a:close/>
              </a:path>
            </a:pathLst>
          </a:custGeom>
          <a:solidFill>
            <a:srgbClr val="899989"/>
          </a:solidFill>
        </p:spPr>
        <p:txBody>
          <a:bodyPr wrap="square" lIns="0" tIns="0" rIns="0" bIns="0" rtlCol="0"/>
          <a:lstStyle/>
          <a:p>
            <a:endParaRPr/>
          </a:p>
        </p:txBody>
      </p:sp>
      <p:sp>
        <p:nvSpPr>
          <p:cNvPr id="28" name="object 28"/>
          <p:cNvSpPr/>
          <p:nvPr/>
        </p:nvSpPr>
        <p:spPr>
          <a:xfrm>
            <a:off x="6371590" y="2828925"/>
            <a:ext cx="30480" cy="31115"/>
          </a:xfrm>
          <a:custGeom>
            <a:avLst/>
            <a:gdLst/>
            <a:ahLst/>
            <a:cxnLst/>
            <a:rect l="l" t="t" r="r" b="b"/>
            <a:pathLst>
              <a:path w="30479" h="31114">
                <a:moveTo>
                  <a:pt x="17399" y="0"/>
                </a:moveTo>
                <a:lnTo>
                  <a:pt x="11430" y="0"/>
                </a:lnTo>
                <a:lnTo>
                  <a:pt x="9017" y="1270"/>
                </a:lnTo>
                <a:lnTo>
                  <a:pt x="5969" y="2412"/>
                </a:lnTo>
                <a:lnTo>
                  <a:pt x="4825" y="4952"/>
                </a:lnTo>
                <a:lnTo>
                  <a:pt x="2412" y="6096"/>
                </a:lnTo>
                <a:lnTo>
                  <a:pt x="1143" y="8636"/>
                </a:lnTo>
                <a:lnTo>
                  <a:pt x="0" y="11684"/>
                </a:lnTo>
                <a:lnTo>
                  <a:pt x="0" y="17779"/>
                </a:lnTo>
                <a:lnTo>
                  <a:pt x="1143" y="20320"/>
                </a:lnTo>
                <a:lnTo>
                  <a:pt x="2412" y="22098"/>
                </a:lnTo>
                <a:lnTo>
                  <a:pt x="4825" y="24637"/>
                </a:lnTo>
                <a:lnTo>
                  <a:pt x="5969" y="27050"/>
                </a:lnTo>
                <a:lnTo>
                  <a:pt x="9017" y="28321"/>
                </a:lnTo>
                <a:lnTo>
                  <a:pt x="11430" y="29590"/>
                </a:lnTo>
                <a:lnTo>
                  <a:pt x="14986" y="30734"/>
                </a:lnTo>
                <a:lnTo>
                  <a:pt x="17399" y="29590"/>
                </a:lnTo>
                <a:lnTo>
                  <a:pt x="19812" y="28321"/>
                </a:lnTo>
                <a:lnTo>
                  <a:pt x="21589" y="27050"/>
                </a:lnTo>
                <a:lnTo>
                  <a:pt x="25146" y="24637"/>
                </a:lnTo>
                <a:lnTo>
                  <a:pt x="26415" y="22098"/>
                </a:lnTo>
                <a:lnTo>
                  <a:pt x="28829" y="20320"/>
                </a:lnTo>
                <a:lnTo>
                  <a:pt x="28829" y="17779"/>
                </a:lnTo>
                <a:lnTo>
                  <a:pt x="29972" y="14097"/>
                </a:lnTo>
                <a:lnTo>
                  <a:pt x="28829" y="11684"/>
                </a:lnTo>
                <a:lnTo>
                  <a:pt x="28829" y="8636"/>
                </a:lnTo>
                <a:lnTo>
                  <a:pt x="26415" y="6096"/>
                </a:lnTo>
                <a:lnTo>
                  <a:pt x="25146" y="4952"/>
                </a:lnTo>
                <a:lnTo>
                  <a:pt x="21589" y="2412"/>
                </a:lnTo>
                <a:lnTo>
                  <a:pt x="19812" y="1270"/>
                </a:lnTo>
                <a:lnTo>
                  <a:pt x="17399" y="0"/>
                </a:lnTo>
                <a:close/>
              </a:path>
            </a:pathLst>
          </a:custGeom>
          <a:solidFill>
            <a:srgbClr val="899989"/>
          </a:solidFill>
        </p:spPr>
        <p:txBody>
          <a:bodyPr wrap="square" lIns="0" tIns="0" rIns="0" bIns="0" rtlCol="0"/>
          <a:lstStyle/>
          <a:p>
            <a:endParaRPr/>
          </a:p>
        </p:txBody>
      </p:sp>
      <p:sp>
        <p:nvSpPr>
          <p:cNvPr id="29" name="object 29"/>
          <p:cNvSpPr txBox="1"/>
          <p:nvPr/>
        </p:nvSpPr>
        <p:spPr>
          <a:xfrm>
            <a:off x="4953000" y="2981325"/>
            <a:ext cx="2057400" cy="1752600"/>
          </a:xfrm>
          <a:prstGeom prst="rect">
            <a:avLst/>
          </a:prstGeom>
          <a:ln w="12700">
            <a:solidFill>
              <a:srgbClr val="FFFF99"/>
            </a:solidFill>
          </a:ln>
        </p:spPr>
        <p:txBody>
          <a:bodyPr vert="horz" wrap="square" lIns="0" tIns="0" rIns="0" bIns="0" rtlCol="0">
            <a:spAutoFit/>
          </a:bodyPr>
          <a:lstStyle/>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spcBef>
                <a:spcPts val="45"/>
              </a:spcBef>
            </a:pPr>
            <a:endParaRPr sz="1650">
              <a:latin typeface="Times New Roman"/>
              <a:cs typeface="Times New Roman"/>
            </a:endParaRPr>
          </a:p>
          <a:p>
            <a:pPr marL="466725" marR="304800" indent="252729">
              <a:lnSpc>
                <a:spcPct val="105000"/>
              </a:lnSpc>
            </a:pPr>
            <a:r>
              <a:rPr sz="1400" b="1" spc="-10" dirty="0">
                <a:latin typeface="Arial"/>
                <a:cs typeface="Arial"/>
              </a:rPr>
              <a:t>SALES </a:t>
            </a:r>
            <a:r>
              <a:rPr sz="1400" b="1" dirty="0">
                <a:latin typeface="Arial"/>
                <a:cs typeface="Arial"/>
              </a:rPr>
              <a:t>&amp;  </a:t>
            </a:r>
            <a:r>
              <a:rPr sz="1400" b="1" spc="-5" dirty="0">
                <a:latin typeface="Arial"/>
                <a:cs typeface="Arial"/>
              </a:rPr>
              <a:t>DISTRIBUTION</a:t>
            </a:r>
            <a:endParaRPr sz="1400">
              <a:latin typeface="Arial"/>
              <a:cs typeface="Arial"/>
            </a:endParaRPr>
          </a:p>
        </p:txBody>
      </p:sp>
      <p:sp>
        <p:nvSpPr>
          <p:cNvPr id="32" name="object 32"/>
          <p:cNvSpPr/>
          <p:nvPr/>
        </p:nvSpPr>
        <p:spPr>
          <a:xfrm>
            <a:off x="1975104" y="102107"/>
            <a:ext cx="886968" cy="897636"/>
          </a:xfrm>
          <a:prstGeom prst="rect">
            <a:avLst/>
          </a:prstGeom>
          <a:blipFill>
            <a:blip r:embed="rId18" cstate="print"/>
            <a:stretch>
              <a:fillRect/>
            </a:stretch>
          </a:blipFill>
        </p:spPr>
        <p:txBody>
          <a:bodyPr wrap="square" lIns="0" tIns="0" rIns="0" bIns="0" rtlCol="0"/>
          <a:lstStyle/>
          <a:p>
            <a:endParaRPr/>
          </a:p>
        </p:txBody>
      </p:sp>
      <p:sp>
        <p:nvSpPr>
          <p:cNvPr id="36" name="Title 35"/>
          <p:cNvSpPr>
            <a:spLocks noGrp="1"/>
          </p:cNvSpPr>
          <p:nvPr>
            <p:ph type="title"/>
          </p:nvPr>
        </p:nvSpPr>
        <p:spPr>
          <a:xfrm>
            <a:off x="228600" y="277384"/>
            <a:ext cx="9144000" cy="492443"/>
          </a:xfrm>
        </p:spPr>
        <p:txBody>
          <a:bodyPr/>
          <a:lstStyle/>
          <a:p>
            <a:pPr marL="69850" defTabSz="912813" rtl="0" fontAlgn="base">
              <a:spcBef>
                <a:spcPct val="0"/>
              </a:spcBef>
              <a:spcAft>
                <a:spcPct val="0"/>
              </a:spcAft>
            </a:pPr>
            <a:r>
              <a:rPr lang="en-US" dirty="0"/>
              <a:t>Organization Structure</a:t>
            </a:r>
          </a:p>
        </p:txBody>
      </p:sp>
      <p:sp>
        <p:nvSpPr>
          <p:cNvPr id="35" name="object 35"/>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6</a:t>
            </a:fld>
            <a:endParaRPr sz="1200">
              <a:latin typeface="Symbol"/>
              <a:cs typeface="Symbol"/>
            </a:endParaRPr>
          </a:p>
        </p:txBody>
      </p:sp>
      <p:sp>
        <p:nvSpPr>
          <p:cNvPr id="37" name="Rectangle 36"/>
          <p:cNvSpPr/>
          <p:nvPr/>
        </p:nvSpPr>
        <p:spPr>
          <a:xfrm>
            <a:off x="0" y="4909391"/>
            <a:ext cx="9076899" cy="1410643"/>
          </a:xfrm>
          <a:prstGeom prst="rect">
            <a:avLst/>
          </a:prstGeom>
        </p:spPr>
        <p:txBody>
          <a:bodyPr wrap="square">
            <a:spAutoFit/>
          </a:bodyPr>
          <a:lstStyle/>
          <a:p>
            <a:pPr marL="370839" marR="309880" indent="-285750">
              <a:lnSpc>
                <a:spcPct val="100000"/>
              </a:lnSpc>
              <a:spcBef>
                <a:spcPts val="270"/>
              </a:spcBef>
              <a:buClr>
                <a:srgbClr val="00B0F0"/>
              </a:buClr>
              <a:buFont typeface="Wingdings" panose="05000000000000000000" pitchFamily="2" charset="2"/>
              <a:buChar char="§"/>
              <a:tabLst>
                <a:tab pos="255904" algn="l"/>
              </a:tabLst>
            </a:pPr>
            <a:r>
              <a:rPr lang="en-US" spc="-30" dirty="0">
                <a:latin typeface="Arial" panose="020B0604020202020204" pitchFamily="34" charset="0"/>
                <a:cs typeface="Arial" panose="020B0604020202020204" pitchFamily="34" charset="0"/>
              </a:rPr>
              <a:t>An </a:t>
            </a:r>
            <a:r>
              <a:rPr lang="en-US" dirty="0">
                <a:latin typeface="Arial" panose="020B0604020202020204" pitchFamily="34" charset="0"/>
                <a:cs typeface="Arial" panose="020B0604020202020204" pitchFamily="34" charset="0"/>
              </a:rPr>
              <a:t>organizational </a:t>
            </a:r>
            <a:r>
              <a:rPr lang="en-US" spc="-5" dirty="0">
                <a:latin typeface="Arial" panose="020B0604020202020204" pitchFamily="34" charset="0"/>
                <a:cs typeface="Arial" panose="020B0604020202020204" pitchFamily="34" charset="0"/>
              </a:rPr>
              <a:t>structure </a:t>
            </a:r>
            <a:r>
              <a:rPr lang="en-US" dirty="0">
                <a:latin typeface="Arial" panose="020B0604020202020204" pitchFamily="34" charset="0"/>
                <a:cs typeface="Arial" panose="020B0604020202020204" pitchFamily="34" charset="0"/>
              </a:rPr>
              <a:t>depicts the </a:t>
            </a:r>
            <a:r>
              <a:rPr lang="en-US" spc="-5" dirty="0">
                <a:latin typeface="Arial" panose="020B0604020202020204" pitchFamily="34" charset="0"/>
                <a:cs typeface="Arial" panose="020B0604020202020204" pitchFamily="34" charset="0"/>
              </a:rPr>
              <a:t>structure </a:t>
            </a:r>
            <a:r>
              <a:rPr lang="en-US" dirty="0">
                <a:latin typeface="Arial" panose="020B0604020202020204" pitchFamily="34" charset="0"/>
                <a:cs typeface="Arial" panose="020B0604020202020204" pitchFamily="34" charset="0"/>
              </a:rPr>
              <a:t>of </a:t>
            </a:r>
            <a:r>
              <a:rPr lang="en-US" spc="-10" dirty="0">
                <a:latin typeface="Arial" panose="020B0604020202020204" pitchFamily="34" charset="0"/>
                <a:cs typeface="Arial" panose="020B0604020202020204" pitchFamily="34" charset="0"/>
              </a:rPr>
              <a:t>an </a:t>
            </a:r>
            <a:r>
              <a:rPr lang="en-US" dirty="0">
                <a:latin typeface="Arial" panose="020B0604020202020204" pitchFamily="34" charset="0"/>
                <a:cs typeface="Arial" panose="020B0604020202020204" pitchFamily="34" charset="0"/>
              </a:rPr>
              <a:t>organization in </a:t>
            </a:r>
            <a:r>
              <a:rPr lang="en-US" spc="-5" dirty="0">
                <a:latin typeface="Arial" panose="020B0604020202020204" pitchFamily="34" charset="0"/>
                <a:cs typeface="Arial" panose="020B0604020202020204" pitchFamily="34" charset="0"/>
              </a:rPr>
              <a:t>terms  </a:t>
            </a:r>
            <a:r>
              <a:rPr lang="en-US" dirty="0">
                <a:latin typeface="Arial" panose="020B0604020202020204" pitchFamily="34" charset="0"/>
                <a:cs typeface="Arial" panose="020B0604020202020204" pitchFamily="34" charset="0"/>
              </a:rPr>
              <a:t>of </a:t>
            </a:r>
            <a:r>
              <a:rPr lang="en-US" spc="-5" dirty="0">
                <a:latin typeface="Arial" panose="020B0604020202020204" pitchFamily="34" charset="0"/>
                <a:cs typeface="Arial" panose="020B0604020202020204" pitchFamily="34" charset="0"/>
              </a:rPr>
              <a:t>relationships among personnel or</a:t>
            </a:r>
            <a:r>
              <a:rPr lang="en-US" spc="60" dirty="0">
                <a:latin typeface="Arial" panose="020B0604020202020204" pitchFamily="34" charset="0"/>
                <a:cs typeface="Arial" panose="020B0604020202020204" pitchFamily="34" charset="0"/>
              </a:rPr>
              <a:t> </a:t>
            </a:r>
            <a:r>
              <a:rPr lang="en-US" spc="-5" dirty="0">
                <a:latin typeface="Arial" panose="020B0604020202020204" pitchFamily="34" charset="0"/>
                <a:cs typeface="Arial" panose="020B0604020202020204" pitchFamily="34" charset="0"/>
              </a:rPr>
              <a:t>departments</a:t>
            </a:r>
            <a:endParaRPr lang="en-US" dirty="0">
              <a:latin typeface="Arial" panose="020B0604020202020204" pitchFamily="34" charset="0"/>
              <a:cs typeface="Arial" panose="020B0604020202020204" pitchFamily="34" charset="0"/>
            </a:endParaRPr>
          </a:p>
          <a:p>
            <a:pPr marL="370839" indent="-285750">
              <a:lnSpc>
                <a:spcPct val="100000"/>
              </a:lnSpc>
              <a:buClr>
                <a:srgbClr val="00B0F0"/>
              </a:buClr>
              <a:buFont typeface="Wingdings" panose="05000000000000000000" pitchFamily="2" charset="2"/>
              <a:buChar char="§"/>
              <a:tabLst>
                <a:tab pos="255904" algn="l"/>
              </a:tabLst>
            </a:pPr>
            <a:r>
              <a:rPr lang="en-US" spc="-30" dirty="0">
                <a:latin typeface="Arial" panose="020B0604020202020204" pitchFamily="34" charset="0"/>
                <a:cs typeface="Arial" panose="020B0604020202020204" pitchFamily="34" charset="0"/>
              </a:rPr>
              <a:t>An </a:t>
            </a:r>
            <a:r>
              <a:rPr lang="en-US" dirty="0">
                <a:latin typeface="Arial" panose="020B0604020202020204" pitchFamily="34" charset="0"/>
                <a:cs typeface="Arial" panose="020B0604020202020204" pitchFamily="34" charset="0"/>
              </a:rPr>
              <a:t>organizational </a:t>
            </a:r>
            <a:r>
              <a:rPr lang="en-US" spc="-5" dirty="0">
                <a:latin typeface="Arial" panose="020B0604020202020204" pitchFamily="34" charset="0"/>
                <a:cs typeface="Arial" panose="020B0604020202020204" pitchFamily="34" charset="0"/>
              </a:rPr>
              <a:t>chart also represents </a:t>
            </a:r>
            <a:r>
              <a:rPr lang="en-US" dirty="0">
                <a:latin typeface="Arial" panose="020B0604020202020204" pitchFamily="34" charset="0"/>
                <a:cs typeface="Arial" panose="020B0604020202020204" pitchFamily="34" charset="0"/>
              </a:rPr>
              <a:t>lines of authority and</a:t>
            </a:r>
            <a:r>
              <a:rPr lang="en-US" spc="25" dirty="0">
                <a:latin typeface="Arial" panose="020B0604020202020204" pitchFamily="34" charset="0"/>
                <a:cs typeface="Arial" panose="020B0604020202020204" pitchFamily="34" charset="0"/>
              </a:rPr>
              <a:t> </a:t>
            </a:r>
            <a:r>
              <a:rPr lang="en-US" spc="-10" dirty="0">
                <a:latin typeface="Arial" panose="020B0604020202020204" pitchFamily="34" charset="0"/>
                <a:cs typeface="Arial" panose="020B0604020202020204" pitchFamily="34" charset="0"/>
              </a:rPr>
              <a:t>responsibility</a:t>
            </a:r>
            <a:endParaRPr lang="en-US" dirty="0">
              <a:latin typeface="Arial" panose="020B0604020202020204" pitchFamily="34" charset="0"/>
              <a:cs typeface="Arial" panose="020B0604020202020204" pitchFamily="34" charset="0"/>
            </a:endParaRPr>
          </a:p>
          <a:p>
            <a:pPr marL="370839" marR="956310" indent="-285750">
              <a:lnSpc>
                <a:spcPts val="1730"/>
              </a:lnSpc>
              <a:spcBef>
                <a:spcPts val="415"/>
              </a:spcBef>
              <a:buClr>
                <a:srgbClr val="00B0F0"/>
              </a:buClr>
              <a:buFont typeface="Wingdings" panose="05000000000000000000" pitchFamily="2" charset="2"/>
              <a:buChar char="§"/>
              <a:tabLst>
                <a:tab pos="255904" algn="l"/>
              </a:tabLst>
            </a:pPr>
            <a:r>
              <a:rPr lang="en-US" spc="-30" dirty="0">
                <a:latin typeface="Arial" panose="020B0604020202020204" pitchFamily="34" charset="0"/>
                <a:cs typeface="Arial" panose="020B0604020202020204" pitchFamily="34" charset="0"/>
              </a:rPr>
              <a:t>An </a:t>
            </a:r>
            <a:r>
              <a:rPr lang="en-US" dirty="0">
                <a:latin typeface="Arial" panose="020B0604020202020204" pitchFamily="34" charset="0"/>
                <a:cs typeface="Arial" panose="020B0604020202020204" pitchFamily="34" charset="0"/>
              </a:rPr>
              <a:t>organizational </a:t>
            </a:r>
            <a:r>
              <a:rPr lang="en-US" spc="-5" dirty="0">
                <a:latin typeface="Arial" panose="020B0604020202020204" pitchFamily="34" charset="0"/>
                <a:cs typeface="Arial" panose="020B0604020202020204" pitchFamily="34" charset="0"/>
              </a:rPr>
              <a:t>chart indicates </a:t>
            </a:r>
            <a:r>
              <a:rPr lang="en-US" dirty="0">
                <a:latin typeface="Arial" panose="020B0604020202020204" pitchFamily="34" charset="0"/>
                <a:cs typeface="Arial" panose="020B0604020202020204" pitchFamily="34" charset="0"/>
              </a:rPr>
              <a:t>the </a:t>
            </a:r>
            <a:r>
              <a:rPr lang="en-US" spc="-5" dirty="0">
                <a:latin typeface="Arial" panose="020B0604020202020204" pitchFamily="34" charset="0"/>
                <a:cs typeface="Arial" panose="020B0604020202020204" pitchFamily="34" charset="0"/>
              </a:rPr>
              <a:t>formal structure </a:t>
            </a:r>
            <a:r>
              <a:rPr lang="en-US" dirty="0">
                <a:latin typeface="Arial" panose="020B0604020202020204" pitchFamily="34" charset="0"/>
                <a:cs typeface="Arial" panose="020B0604020202020204" pitchFamily="34" charset="0"/>
              </a:rPr>
              <a:t>of </a:t>
            </a:r>
            <a:r>
              <a:rPr lang="en-US" spc="-5" dirty="0">
                <a:latin typeface="Arial" panose="020B0604020202020204" pitchFamily="34" charset="0"/>
                <a:cs typeface="Arial" panose="020B0604020202020204" pitchFamily="34" charset="0"/>
              </a:rPr>
              <a:t>a business or  </a:t>
            </a:r>
            <a:r>
              <a:rPr lang="en-US" spc="-20" dirty="0">
                <a:latin typeface="Arial" panose="020B0604020202020204" pitchFamily="34" charset="0"/>
                <a:cs typeface="Arial" panose="020B0604020202020204" pitchFamily="34" charset="0"/>
              </a:rPr>
              <a:t>company</a:t>
            </a:r>
            <a:endParaRPr lang="en-US" dirty="0">
              <a:latin typeface="Arial" panose="020B0604020202020204" pitchFamily="34" charset="0"/>
              <a:cs typeface="Arial" panose="020B0604020202020204" pitchFamily="34" charset="0"/>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p:nvPr/>
        </p:nvSpPr>
        <p:spPr>
          <a:xfrm>
            <a:off x="2347479" y="1453092"/>
            <a:ext cx="6489446" cy="3724096"/>
          </a:xfrm>
          <a:prstGeom prst="rect">
            <a:avLst/>
          </a:prstGeom>
        </p:spPr>
        <p:txBody>
          <a:bodyPr vert="horz" wrap="square" lIns="0" tIns="0" rIns="0" bIns="0" rtlCol="0">
            <a:spAutoFit/>
          </a:bodyPr>
          <a:lstStyle/>
          <a:p>
            <a:pPr marL="355600" marR="287020" indent="-342900">
              <a:buClr>
                <a:srgbClr val="00B0F0"/>
              </a:buClr>
              <a:buFont typeface="Wingdings" panose="05000000000000000000" pitchFamily="2" charset="2"/>
              <a:buChar char="§"/>
              <a:tabLst>
                <a:tab pos="354965" algn="l"/>
                <a:tab pos="355600" algn="l"/>
              </a:tabLst>
            </a:pPr>
            <a:r>
              <a:rPr lang="en-US" sz="2200" dirty="0">
                <a:latin typeface="Arial"/>
                <a:cs typeface="Arial"/>
              </a:rPr>
              <a:t>Organization is a Group of people with specific  responsibilities acting together for achieving  specific purpose determined by the  </a:t>
            </a:r>
            <a:r>
              <a:rPr lang="en-US" sz="2200" dirty="0" smtClean="0">
                <a:latin typeface="Arial"/>
                <a:cs typeface="Arial"/>
              </a:rPr>
              <a:t>organization</a:t>
            </a:r>
          </a:p>
          <a:p>
            <a:pPr marL="355600" marR="287020" indent="-342900">
              <a:lnSpc>
                <a:spcPct val="100000"/>
              </a:lnSpc>
              <a:buClr>
                <a:srgbClr val="00B0F0"/>
              </a:buClr>
              <a:buFont typeface="Wingdings" panose="05000000000000000000" pitchFamily="2" charset="2"/>
              <a:buChar char="§"/>
              <a:tabLst>
                <a:tab pos="354965" algn="l"/>
                <a:tab pos="355600" algn="l"/>
              </a:tabLst>
            </a:pPr>
            <a:r>
              <a:rPr sz="2200" dirty="0" smtClean="0">
                <a:latin typeface="Arial"/>
                <a:cs typeface="Arial"/>
              </a:rPr>
              <a:t>Any </a:t>
            </a:r>
            <a:r>
              <a:rPr sz="2200" dirty="0">
                <a:latin typeface="Arial"/>
                <a:cs typeface="Arial"/>
              </a:rPr>
              <a:t>organization needs proper</a:t>
            </a:r>
            <a:r>
              <a:rPr sz="2200" spc="-105" dirty="0">
                <a:latin typeface="Arial"/>
                <a:cs typeface="Arial"/>
              </a:rPr>
              <a:t> </a:t>
            </a:r>
            <a:r>
              <a:rPr sz="2200" dirty="0">
                <a:latin typeface="Arial"/>
                <a:cs typeface="Arial"/>
              </a:rPr>
              <a:t>co-ordination  within all its</a:t>
            </a:r>
            <a:r>
              <a:rPr sz="2200" spc="-150" dirty="0">
                <a:latin typeface="Arial"/>
                <a:cs typeface="Arial"/>
              </a:rPr>
              <a:t> </a:t>
            </a:r>
            <a:r>
              <a:rPr sz="2200" dirty="0" smtClean="0">
                <a:latin typeface="Arial"/>
                <a:cs typeface="Arial"/>
              </a:rPr>
              <a:t>departments</a:t>
            </a:r>
            <a:endParaRPr sz="2900" dirty="0">
              <a:latin typeface="Times New Roman"/>
              <a:cs typeface="Times New Roman"/>
            </a:endParaRPr>
          </a:p>
          <a:p>
            <a:pPr marL="355600" indent="-342900">
              <a:lnSpc>
                <a:spcPct val="100000"/>
              </a:lnSpc>
              <a:buClr>
                <a:srgbClr val="00B0F0"/>
              </a:buClr>
              <a:buFont typeface="Wingdings" panose="05000000000000000000" pitchFamily="2" charset="2"/>
              <a:buChar char="§"/>
              <a:tabLst>
                <a:tab pos="354965" algn="l"/>
                <a:tab pos="355600" algn="l"/>
              </a:tabLst>
            </a:pPr>
            <a:r>
              <a:rPr sz="2200" dirty="0">
                <a:latin typeface="Arial"/>
                <a:cs typeface="Arial"/>
              </a:rPr>
              <a:t>Link between departments is maintained</a:t>
            </a:r>
            <a:r>
              <a:rPr sz="2200" spc="-190" dirty="0">
                <a:latin typeface="Arial"/>
                <a:cs typeface="Arial"/>
              </a:rPr>
              <a:t> </a:t>
            </a:r>
            <a:r>
              <a:rPr sz="2200" dirty="0">
                <a:latin typeface="Arial"/>
                <a:cs typeface="Arial"/>
              </a:rPr>
              <a:t>in</a:t>
            </a:r>
          </a:p>
          <a:p>
            <a:pPr marL="355600">
              <a:lnSpc>
                <a:spcPct val="100000"/>
              </a:lnSpc>
              <a:buClr>
                <a:srgbClr val="00B0F0"/>
              </a:buClr>
            </a:pPr>
            <a:r>
              <a:rPr sz="2200" dirty="0">
                <a:latin typeface="Arial"/>
                <a:cs typeface="Arial"/>
              </a:rPr>
              <a:t>form of a</a:t>
            </a:r>
            <a:r>
              <a:rPr sz="2200" spc="-120" dirty="0">
                <a:latin typeface="Arial"/>
                <a:cs typeface="Arial"/>
              </a:rPr>
              <a:t> </a:t>
            </a:r>
            <a:r>
              <a:rPr sz="2200" spc="-5" dirty="0" smtClean="0">
                <a:latin typeface="Arial"/>
                <a:cs typeface="Arial"/>
              </a:rPr>
              <a:t>hierarchy</a:t>
            </a:r>
            <a:endParaRPr sz="2200" dirty="0">
              <a:latin typeface="Times New Roman"/>
              <a:cs typeface="Times New Roman"/>
            </a:endParaRPr>
          </a:p>
          <a:p>
            <a:pPr marL="355600" marR="5080" indent="-342900">
              <a:lnSpc>
                <a:spcPct val="100000"/>
              </a:lnSpc>
              <a:buClr>
                <a:srgbClr val="00B0F0"/>
              </a:buClr>
              <a:buFont typeface="Wingdings" panose="05000000000000000000" pitchFamily="2" charset="2"/>
              <a:buChar char="§"/>
              <a:tabLst>
                <a:tab pos="423545" algn="l"/>
                <a:tab pos="424180" algn="l"/>
              </a:tabLst>
            </a:pPr>
            <a:r>
              <a:rPr sz="2200" dirty="0">
                <a:latin typeface="Arial"/>
                <a:cs typeface="Arial"/>
              </a:rPr>
              <a:t>Organizational Structure facilitates proper</a:t>
            </a:r>
            <a:r>
              <a:rPr sz="2200" spc="-195" dirty="0">
                <a:latin typeface="Arial"/>
                <a:cs typeface="Arial"/>
              </a:rPr>
              <a:t> </a:t>
            </a:r>
            <a:r>
              <a:rPr sz="2200" spc="-5" dirty="0">
                <a:latin typeface="Arial"/>
                <a:cs typeface="Arial"/>
              </a:rPr>
              <a:t>flow  </a:t>
            </a:r>
            <a:r>
              <a:rPr sz="2200" dirty="0">
                <a:latin typeface="Arial"/>
                <a:cs typeface="Arial"/>
              </a:rPr>
              <a:t>of information, </a:t>
            </a:r>
            <a:r>
              <a:rPr sz="2200" spc="-5" dirty="0">
                <a:latin typeface="Arial"/>
                <a:cs typeface="Arial"/>
              </a:rPr>
              <a:t>division </a:t>
            </a:r>
            <a:r>
              <a:rPr sz="2200" dirty="0">
                <a:latin typeface="Arial"/>
                <a:cs typeface="Arial"/>
              </a:rPr>
              <a:t>of responsibilities &amp;  </a:t>
            </a:r>
            <a:r>
              <a:rPr sz="2200" spc="-5" dirty="0">
                <a:latin typeface="Arial"/>
                <a:cs typeface="Arial"/>
              </a:rPr>
              <a:t>effective</a:t>
            </a:r>
            <a:r>
              <a:rPr sz="2200" spc="-95" dirty="0">
                <a:latin typeface="Arial"/>
                <a:cs typeface="Arial"/>
              </a:rPr>
              <a:t> </a:t>
            </a:r>
            <a:r>
              <a:rPr sz="2200" dirty="0" smtClean="0">
                <a:latin typeface="Arial"/>
                <a:cs typeface="Arial"/>
              </a:rPr>
              <a:t>reporting</a:t>
            </a:r>
            <a:endParaRPr sz="2200" dirty="0">
              <a:latin typeface="Arial"/>
              <a:cs typeface="Arial"/>
            </a:endParaRPr>
          </a:p>
        </p:txBody>
      </p:sp>
      <p:sp>
        <p:nvSpPr>
          <p:cNvPr id="7" name="object 7"/>
          <p:cNvSpPr/>
          <p:nvPr/>
        </p:nvSpPr>
        <p:spPr>
          <a:xfrm>
            <a:off x="364756" y="2490353"/>
            <a:ext cx="1831339" cy="2117725"/>
          </a:xfrm>
          <a:custGeom>
            <a:avLst/>
            <a:gdLst/>
            <a:ahLst/>
            <a:cxnLst/>
            <a:rect l="l" t="t" r="r" b="b"/>
            <a:pathLst>
              <a:path w="1831339" h="2117725">
                <a:moveTo>
                  <a:pt x="956266" y="0"/>
                </a:moveTo>
                <a:lnTo>
                  <a:pt x="0" y="2106592"/>
                </a:lnTo>
                <a:lnTo>
                  <a:pt x="1830952" y="2117544"/>
                </a:lnTo>
                <a:lnTo>
                  <a:pt x="956266" y="0"/>
                </a:lnTo>
                <a:close/>
              </a:path>
            </a:pathLst>
          </a:custGeom>
          <a:solidFill>
            <a:srgbClr val="000000"/>
          </a:solidFill>
        </p:spPr>
        <p:txBody>
          <a:bodyPr wrap="square" lIns="0" tIns="0" rIns="0" bIns="0" rtlCol="0"/>
          <a:lstStyle/>
          <a:p>
            <a:endParaRPr/>
          </a:p>
        </p:txBody>
      </p:sp>
      <p:sp>
        <p:nvSpPr>
          <p:cNvPr id="8" name="object 8"/>
          <p:cNvSpPr/>
          <p:nvPr/>
        </p:nvSpPr>
        <p:spPr>
          <a:xfrm>
            <a:off x="415134" y="2587133"/>
            <a:ext cx="1727200" cy="1976120"/>
          </a:xfrm>
          <a:custGeom>
            <a:avLst/>
            <a:gdLst/>
            <a:ahLst/>
            <a:cxnLst/>
            <a:rect l="l" t="t" r="r" b="b"/>
            <a:pathLst>
              <a:path w="1727200" h="1976120">
                <a:moveTo>
                  <a:pt x="907715" y="0"/>
                </a:moveTo>
                <a:lnTo>
                  <a:pt x="0" y="1966915"/>
                </a:lnTo>
                <a:lnTo>
                  <a:pt x="1726634" y="1976042"/>
                </a:lnTo>
                <a:lnTo>
                  <a:pt x="907715" y="0"/>
                </a:lnTo>
                <a:close/>
              </a:path>
            </a:pathLst>
          </a:custGeom>
          <a:solidFill>
            <a:srgbClr val="FFCC00"/>
          </a:solidFill>
        </p:spPr>
        <p:txBody>
          <a:bodyPr wrap="square" lIns="0" tIns="0" rIns="0" bIns="0" rtlCol="0"/>
          <a:lstStyle/>
          <a:p>
            <a:endParaRPr/>
          </a:p>
        </p:txBody>
      </p:sp>
      <p:sp>
        <p:nvSpPr>
          <p:cNvPr id="9" name="object 9"/>
          <p:cNvSpPr/>
          <p:nvPr/>
        </p:nvSpPr>
        <p:spPr>
          <a:xfrm>
            <a:off x="365672" y="2217543"/>
            <a:ext cx="1846535" cy="2345632"/>
          </a:xfrm>
          <a:prstGeom prst="rect">
            <a:avLst/>
          </a:prstGeom>
          <a:blipFill>
            <a:blip r:embed="rId2" cstate="print"/>
            <a:stretch>
              <a:fillRect/>
            </a:stretch>
          </a:blipFill>
        </p:spPr>
        <p:txBody>
          <a:bodyPr wrap="square" lIns="0" tIns="0" rIns="0" bIns="0" rtlCol="0"/>
          <a:lstStyle/>
          <a:p>
            <a:endParaRPr/>
          </a:p>
        </p:txBody>
      </p:sp>
      <p:sp>
        <p:nvSpPr>
          <p:cNvPr id="10" name="object 10"/>
          <p:cNvSpPr/>
          <p:nvPr/>
        </p:nvSpPr>
        <p:spPr>
          <a:xfrm>
            <a:off x="228600" y="5791200"/>
            <a:ext cx="8610600" cy="319318"/>
          </a:xfrm>
          <a:prstGeom prst="rect">
            <a:avLst/>
          </a:prstGeom>
          <a:blipFill>
            <a:blip r:embed="rId3" cstate="print"/>
            <a:stretch>
              <a:fillRect/>
            </a:stretch>
          </a:blipFill>
        </p:spPr>
        <p:txBody>
          <a:bodyPr wrap="square" lIns="0" tIns="0" rIns="0" bIns="0" rtlCol="0"/>
          <a:lstStyle/>
          <a:p>
            <a:endParaRPr/>
          </a:p>
        </p:txBody>
      </p:sp>
      <p:sp>
        <p:nvSpPr>
          <p:cNvPr id="11" name="object 11"/>
          <p:cNvSpPr txBox="1"/>
          <p:nvPr/>
        </p:nvSpPr>
        <p:spPr>
          <a:xfrm>
            <a:off x="228600" y="5791200"/>
            <a:ext cx="8610600" cy="319318"/>
          </a:xfrm>
          <a:prstGeom prst="rect">
            <a:avLst/>
          </a:prstGeom>
          <a:ln w="12700">
            <a:solidFill>
              <a:srgbClr val="000000"/>
            </a:solidFill>
          </a:ln>
        </p:spPr>
        <p:txBody>
          <a:bodyPr vert="horz" wrap="square" lIns="0" tIns="41910" rIns="0" bIns="0" rtlCol="0">
            <a:spAutoFit/>
          </a:bodyPr>
          <a:lstStyle/>
          <a:p>
            <a:pPr marL="1071880">
              <a:lnSpc>
                <a:spcPct val="100000"/>
              </a:lnSpc>
              <a:spcBef>
                <a:spcPts val="330"/>
              </a:spcBef>
            </a:pPr>
            <a:r>
              <a:rPr sz="1800" b="1" spc="-5" dirty="0">
                <a:latin typeface="Arial"/>
                <a:cs typeface="Arial"/>
              </a:rPr>
              <a:t>A </a:t>
            </a:r>
            <a:r>
              <a:rPr sz="1800" b="1" dirty="0">
                <a:latin typeface="Arial"/>
                <a:cs typeface="Arial"/>
              </a:rPr>
              <a:t>logical </a:t>
            </a:r>
            <a:r>
              <a:rPr sz="1800" b="1" spc="-5" dirty="0">
                <a:latin typeface="Arial"/>
                <a:cs typeface="Arial"/>
              </a:rPr>
              <a:t>hierarchy is called as an </a:t>
            </a:r>
            <a:r>
              <a:rPr sz="1800" b="1" dirty="0" smtClean="0">
                <a:latin typeface="Arial"/>
                <a:cs typeface="Arial"/>
              </a:rPr>
              <a:t>Organi</a:t>
            </a:r>
            <a:r>
              <a:rPr lang="en-US" sz="1800" b="1" dirty="0" smtClean="0">
                <a:latin typeface="Arial"/>
                <a:cs typeface="Arial"/>
              </a:rPr>
              <a:t>z</a:t>
            </a:r>
            <a:r>
              <a:rPr sz="1800" b="1" dirty="0" smtClean="0">
                <a:latin typeface="Arial"/>
                <a:cs typeface="Arial"/>
              </a:rPr>
              <a:t>ational</a:t>
            </a:r>
            <a:r>
              <a:rPr sz="1800" b="1" spc="-60" dirty="0" smtClean="0">
                <a:latin typeface="Arial"/>
                <a:cs typeface="Arial"/>
              </a:rPr>
              <a:t> </a:t>
            </a:r>
            <a:r>
              <a:rPr sz="1800" b="1" spc="-5" dirty="0" smtClean="0">
                <a:latin typeface="Arial"/>
                <a:cs typeface="Arial"/>
              </a:rPr>
              <a:t>Structure</a:t>
            </a:r>
            <a:endParaRPr sz="1800" dirty="0">
              <a:latin typeface="Arial"/>
              <a:cs typeface="Arial"/>
            </a:endParaRPr>
          </a:p>
        </p:txBody>
      </p:sp>
      <p:sp>
        <p:nvSpPr>
          <p:cNvPr id="13" name="object 13"/>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7</a:t>
            </a:fld>
            <a:endParaRPr sz="1200">
              <a:latin typeface="Symbol"/>
              <a:cs typeface="Symbol"/>
            </a:endParaRPr>
          </a:p>
        </p:txBody>
      </p:sp>
      <p:sp>
        <p:nvSpPr>
          <p:cNvPr id="14" name="TextBox 13"/>
          <p:cNvSpPr txBox="1"/>
          <p:nvPr/>
        </p:nvSpPr>
        <p:spPr>
          <a:xfrm>
            <a:off x="0" y="152400"/>
            <a:ext cx="9144000" cy="584775"/>
          </a:xfrm>
          <a:prstGeom prst="rect">
            <a:avLst/>
          </a:prstGeom>
          <a:noFill/>
        </p:spPr>
        <p:txBody>
          <a:bodyPr wrap="square" rtlCol="0">
            <a:spAutoFit/>
          </a:bodyPr>
          <a:lstStyle/>
          <a:p>
            <a:pPr marL="69850" defTabSz="912813" fontAlgn="base">
              <a:spcBef>
                <a:spcPct val="0"/>
              </a:spcBef>
              <a:spcAft>
                <a:spcPct val="0"/>
              </a:spcAft>
            </a:pPr>
            <a:r>
              <a:rPr lang="en-US" sz="3200" b="1" dirty="0">
                <a:latin typeface="Arial"/>
                <a:ea typeface="+mj-ea"/>
                <a:cs typeface="Arial"/>
              </a:rPr>
              <a:t>Use</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bject 5"/>
          <p:cNvSpPr txBox="1"/>
          <p:nvPr/>
        </p:nvSpPr>
        <p:spPr>
          <a:xfrm>
            <a:off x="371475" y="1524000"/>
            <a:ext cx="8772525" cy="4739759"/>
          </a:xfrm>
          <a:prstGeom prst="rect">
            <a:avLst/>
          </a:prstGeom>
        </p:spPr>
        <p:txBody>
          <a:bodyPr vert="horz" wrap="square" lIns="0" tIns="0" rIns="0" bIns="0" rtlCol="0">
            <a:spAutoFit/>
          </a:bodyPr>
          <a:lstStyle/>
          <a:p>
            <a:pPr marL="355600" marR="287020" indent="-342900">
              <a:lnSpc>
                <a:spcPct val="100000"/>
              </a:lnSpc>
              <a:buClr>
                <a:srgbClr val="00B0F0"/>
              </a:buClr>
              <a:buFont typeface="Wingdings" panose="05000000000000000000" pitchFamily="2" charset="2"/>
              <a:buChar char="§"/>
              <a:tabLst>
                <a:tab pos="354965" algn="l"/>
                <a:tab pos="355600" algn="l"/>
              </a:tabLst>
            </a:pPr>
            <a:r>
              <a:rPr lang="en-US" sz="2200" dirty="0">
                <a:latin typeface="Arial"/>
                <a:cs typeface="Arial"/>
              </a:rPr>
              <a:t>Large business houses need specialized work force to focus on specific areas of business. Different units within an Organization operate in different environments  and hence develop their own specialized knowledge base, procedures, tools &amp;  techniques and policies</a:t>
            </a:r>
          </a:p>
          <a:p>
            <a:pPr marL="355600" marR="287020" indent="-342900">
              <a:buClr>
                <a:srgbClr val="00B0F0"/>
              </a:buClr>
              <a:buFont typeface="Wingdings" panose="05000000000000000000" pitchFamily="2" charset="2"/>
              <a:buChar char="§"/>
              <a:tabLst>
                <a:tab pos="354965" algn="l"/>
                <a:tab pos="355600" algn="l"/>
              </a:tabLst>
            </a:pPr>
            <a:r>
              <a:rPr sz="2200" dirty="0">
                <a:latin typeface="Arial"/>
                <a:cs typeface="Arial"/>
              </a:rPr>
              <a:t>It is a challenge to create a hierarchical structure that will cater to the needs of  individual units yet integrate the effort to meet the common objectives</a:t>
            </a:r>
          </a:p>
          <a:p>
            <a:pPr marL="355600" marR="287020" indent="-342900">
              <a:buClr>
                <a:srgbClr val="00B0F0"/>
              </a:buClr>
              <a:buFont typeface="Wingdings" panose="05000000000000000000" pitchFamily="2" charset="2"/>
              <a:buChar char="§"/>
              <a:tabLst>
                <a:tab pos="354965" algn="l"/>
                <a:tab pos="355600" algn="l"/>
              </a:tabLst>
            </a:pPr>
            <a:r>
              <a:rPr sz="2200" dirty="0">
                <a:latin typeface="Arial"/>
                <a:cs typeface="Arial"/>
              </a:rPr>
              <a:t>In</a:t>
            </a:r>
            <a:r>
              <a:rPr lang="en-US" sz="2200" dirty="0">
                <a:latin typeface="Arial"/>
                <a:cs typeface="Arial"/>
              </a:rPr>
              <a:t> </a:t>
            </a:r>
            <a:r>
              <a:rPr sz="2200" dirty="0">
                <a:latin typeface="Arial"/>
                <a:cs typeface="Arial"/>
              </a:rPr>
              <a:t>any business</a:t>
            </a:r>
            <a:r>
              <a:rPr lang="en-US" sz="2200" dirty="0">
                <a:latin typeface="Arial"/>
                <a:cs typeface="Arial"/>
              </a:rPr>
              <a:t> </a:t>
            </a:r>
            <a:r>
              <a:rPr sz="2200" dirty="0">
                <a:latin typeface="Arial"/>
                <a:cs typeface="Arial"/>
              </a:rPr>
              <a:t>it becomes increasingly difficult to ensure proper coordination,</a:t>
            </a:r>
            <a:r>
              <a:rPr lang="en-US" sz="2200" dirty="0">
                <a:latin typeface="Arial"/>
                <a:cs typeface="Arial"/>
              </a:rPr>
              <a:t> </a:t>
            </a:r>
            <a:r>
              <a:rPr sz="2200" dirty="0">
                <a:latin typeface="Arial"/>
                <a:cs typeface="Arial"/>
              </a:rPr>
              <a:t>proper exchange of information, ability to react quickly and collate information  required to form a big picture if the Org structure is too complex or too layered</a:t>
            </a:r>
          </a:p>
          <a:p>
            <a:pPr marL="355600" marR="287020" indent="-342900">
              <a:buClr>
                <a:srgbClr val="00B0F0"/>
              </a:buClr>
              <a:buFont typeface="Wingdings" panose="05000000000000000000" pitchFamily="2" charset="2"/>
              <a:buChar char="§"/>
              <a:tabLst>
                <a:tab pos="354965" algn="l"/>
                <a:tab pos="355600" algn="l"/>
              </a:tabLst>
            </a:pPr>
            <a:r>
              <a:rPr sz="2200" dirty="0">
                <a:latin typeface="Arial"/>
                <a:cs typeface="Arial"/>
              </a:rPr>
              <a:t>A balanced and simple structure can optimize this need for autonomy for various  units and coordinate the efforts effectively</a:t>
            </a:r>
          </a:p>
        </p:txBody>
      </p:sp>
      <p:sp>
        <p:nvSpPr>
          <p:cNvPr id="10" name="Title 9"/>
          <p:cNvSpPr>
            <a:spLocks noGrp="1"/>
          </p:cNvSpPr>
          <p:nvPr>
            <p:ph type="title"/>
          </p:nvPr>
        </p:nvSpPr>
        <p:spPr>
          <a:xfrm>
            <a:off x="69900" y="152400"/>
            <a:ext cx="9144000" cy="492443"/>
          </a:xfrm>
        </p:spPr>
        <p:txBody>
          <a:bodyPr/>
          <a:lstStyle/>
          <a:p>
            <a:r>
              <a:rPr lang="en-US" dirty="0" smtClean="0"/>
              <a:t>Challenges</a:t>
            </a:r>
            <a:endParaRPr lang="en-US" dirty="0"/>
          </a:p>
        </p:txBody>
      </p:sp>
      <p:sp>
        <p:nvSpPr>
          <p:cNvPr id="9" name="object 9"/>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8</a:t>
            </a:fld>
            <a:endParaRPr sz="1200">
              <a:latin typeface="Symbol"/>
              <a:cs typeface="Symbol"/>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52400" y="152400"/>
            <a:ext cx="9144000" cy="492443"/>
          </a:xfrm>
          <a:prstGeom prst="rect">
            <a:avLst/>
          </a:prstGeom>
        </p:spPr>
        <p:txBody>
          <a:bodyPr vert="horz" wrap="square" lIns="0" tIns="0" rIns="0" bIns="0" rtlCol="0">
            <a:spAutoFit/>
          </a:bodyPr>
          <a:lstStyle/>
          <a:p>
            <a:pPr>
              <a:lnSpc>
                <a:spcPct val="100000"/>
              </a:lnSpc>
            </a:pPr>
            <a:r>
              <a:rPr dirty="0"/>
              <a:t>Definition of Organizational units</a:t>
            </a:r>
          </a:p>
        </p:txBody>
      </p:sp>
      <p:sp>
        <p:nvSpPr>
          <p:cNvPr id="3" name="object 3"/>
          <p:cNvSpPr txBox="1"/>
          <p:nvPr/>
        </p:nvSpPr>
        <p:spPr>
          <a:xfrm>
            <a:off x="381000" y="1709597"/>
            <a:ext cx="7827009" cy="3924151"/>
          </a:xfrm>
          <a:prstGeom prst="rect">
            <a:avLst/>
          </a:prstGeom>
        </p:spPr>
        <p:txBody>
          <a:bodyPr vert="horz" wrap="square" lIns="0" tIns="0" rIns="0" bIns="0" rtlCol="0">
            <a:spAutoFit/>
          </a:bodyPr>
          <a:lstStyle/>
          <a:p>
            <a:pPr marL="469900" indent="-457200" algn="just">
              <a:lnSpc>
                <a:spcPct val="100000"/>
              </a:lnSpc>
              <a:buClr>
                <a:srgbClr val="00B0F0"/>
              </a:buClr>
              <a:buFont typeface="Wingdings" panose="05000000000000000000" pitchFamily="2" charset="2"/>
              <a:buChar char="§"/>
            </a:pPr>
            <a:r>
              <a:rPr sz="2200" spc="-5" dirty="0">
                <a:latin typeface="Arial"/>
                <a:cs typeface="Arial"/>
              </a:rPr>
              <a:t>Organizational Units defined in SAP SD</a:t>
            </a:r>
            <a:r>
              <a:rPr sz="2200" spc="60" dirty="0">
                <a:latin typeface="Arial"/>
                <a:cs typeface="Arial"/>
              </a:rPr>
              <a:t> </a:t>
            </a:r>
            <a:r>
              <a:rPr sz="2200" spc="-5" dirty="0">
                <a:latin typeface="Arial"/>
                <a:cs typeface="Arial"/>
              </a:rPr>
              <a:t>are</a:t>
            </a:r>
            <a:r>
              <a:rPr sz="2200" spc="-5" dirty="0" smtClean="0">
                <a:latin typeface="Arial"/>
                <a:cs typeface="Arial"/>
              </a:rPr>
              <a:t>:</a:t>
            </a:r>
            <a:endParaRPr sz="4000" dirty="0">
              <a:latin typeface="Times New Roman"/>
              <a:cs typeface="Times New Roman"/>
            </a:endParaRPr>
          </a:p>
          <a:p>
            <a:pPr marL="812800" lvl="1" indent="-342900" algn="just">
              <a:buClr>
                <a:srgbClr val="C00000"/>
              </a:buClr>
              <a:buFont typeface="Wingdings" panose="05000000000000000000" pitchFamily="2" charset="2"/>
              <a:buChar char="§"/>
            </a:pPr>
            <a:r>
              <a:rPr spc="-5" dirty="0" smtClean="0">
                <a:latin typeface="Arial"/>
                <a:cs typeface="Arial"/>
              </a:rPr>
              <a:t>Sales</a:t>
            </a:r>
            <a:r>
              <a:rPr spc="-90" dirty="0" smtClean="0">
                <a:latin typeface="Arial"/>
                <a:cs typeface="Arial"/>
              </a:rPr>
              <a:t> </a:t>
            </a:r>
            <a:r>
              <a:rPr dirty="0">
                <a:latin typeface="Arial"/>
                <a:cs typeface="Arial"/>
              </a:rPr>
              <a:t>Organization</a:t>
            </a:r>
          </a:p>
          <a:p>
            <a:pPr marL="812800" lvl="1" indent="-342900" algn="just">
              <a:spcBef>
                <a:spcPts val="575"/>
              </a:spcBef>
              <a:buClr>
                <a:srgbClr val="C00000"/>
              </a:buClr>
              <a:buFont typeface="Wingdings" panose="05000000000000000000" pitchFamily="2" charset="2"/>
              <a:buChar char="§"/>
            </a:pPr>
            <a:r>
              <a:rPr dirty="0" smtClean="0">
                <a:latin typeface="Arial"/>
                <a:cs typeface="Arial"/>
              </a:rPr>
              <a:t>Distributional</a:t>
            </a:r>
            <a:r>
              <a:rPr spc="-130" dirty="0" smtClean="0">
                <a:latin typeface="Arial"/>
                <a:cs typeface="Arial"/>
              </a:rPr>
              <a:t> </a:t>
            </a:r>
            <a:r>
              <a:rPr spc="-5" dirty="0">
                <a:latin typeface="Arial"/>
                <a:cs typeface="Arial"/>
              </a:rPr>
              <a:t>Channel</a:t>
            </a:r>
            <a:endParaRPr dirty="0">
              <a:latin typeface="Arial"/>
              <a:cs typeface="Arial"/>
            </a:endParaRPr>
          </a:p>
          <a:p>
            <a:pPr marL="812800" lvl="1" indent="-342900" algn="just">
              <a:spcBef>
                <a:spcPts val="575"/>
              </a:spcBef>
              <a:buClr>
                <a:srgbClr val="C00000"/>
              </a:buClr>
              <a:buFont typeface="Wingdings" panose="05000000000000000000" pitchFamily="2" charset="2"/>
              <a:buChar char="§"/>
            </a:pPr>
            <a:r>
              <a:rPr spc="-5" dirty="0" smtClean="0">
                <a:latin typeface="Arial"/>
                <a:cs typeface="Arial"/>
              </a:rPr>
              <a:t>Division</a:t>
            </a:r>
            <a:endParaRPr dirty="0">
              <a:latin typeface="Arial"/>
              <a:cs typeface="Arial"/>
            </a:endParaRPr>
          </a:p>
          <a:p>
            <a:pPr marL="812800" lvl="1" indent="-342900" algn="just">
              <a:spcBef>
                <a:spcPts val="575"/>
              </a:spcBef>
              <a:buClr>
                <a:srgbClr val="C00000"/>
              </a:buClr>
              <a:buFont typeface="Wingdings" panose="05000000000000000000" pitchFamily="2" charset="2"/>
              <a:buChar char="§"/>
            </a:pPr>
            <a:r>
              <a:rPr lang="en-US" spc="-5" dirty="0" smtClean="0">
                <a:latin typeface="Arial"/>
                <a:cs typeface="Arial"/>
              </a:rPr>
              <a:t>S</a:t>
            </a:r>
            <a:r>
              <a:rPr spc="-5" dirty="0" smtClean="0">
                <a:latin typeface="Arial"/>
                <a:cs typeface="Arial"/>
              </a:rPr>
              <a:t>ales</a:t>
            </a:r>
            <a:r>
              <a:rPr spc="-85" dirty="0" smtClean="0">
                <a:latin typeface="Arial"/>
                <a:cs typeface="Arial"/>
              </a:rPr>
              <a:t> </a:t>
            </a:r>
            <a:r>
              <a:rPr dirty="0">
                <a:latin typeface="Arial"/>
                <a:cs typeface="Arial"/>
              </a:rPr>
              <a:t>Office</a:t>
            </a:r>
          </a:p>
          <a:p>
            <a:pPr marL="812800" lvl="1" indent="-342900" algn="just">
              <a:spcBef>
                <a:spcPts val="575"/>
              </a:spcBef>
              <a:buClr>
                <a:srgbClr val="C00000"/>
              </a:buClr>
              <a:buFont typeface="Wingdings" panose="05000000000000000000" pitchFamily="2" charset="2"/>
              <a:buChar char="§"/>
            </a:pPr>
            <a:r>
              <a:rPr spc="-5" dirty="0" smtClean="0">
                <a:latin typeface="Arial"/>
                <a:cs typeface="Arial"/>
              </a:rPr>
              <a:t>Sales</a:t>
            </a:r>
            <a:r>
              <a:rPr spc="-95" dirty="0" smtClean="0">
                <a:latin typeface="Arial"/>
                <a:cs typeface="Arial"/>
              </a:rPr>
              <a:t> </a:t>
            </a:r>
            <a:r>
              <a:rPr dirty="0">
                <a:latin typeface="Arial"/>
                <a:cs typeface="Arial"/>
              </a:rPr>
              <a:t>Group</a:t>
            </a:r>
          </a:p>
          <a:p>
            <a:pPr>
              <a:lnSpc>
                <a:spcPct val="100000"/>
              </a:lnSpc>
              <a:spcBef>
                <a:spcPts val="5"/>
              </a:spcBef>
            </a:pPr>
            <a:endParaRPr sz="3500" dirty="0">
              <a:latin typeface="Times New Roman"/>
              <a:cs typeface="Times New Roman"/>
            </a:endParaRPr>
          </a:p>
          <a:p>
            <a:pPr marL="355600" marR="287020" indent="-342900">
              <a:lnSpc>
                <a:spcPct val="100000"/>
              </a:lnSpc>
              <a:buClr>
                <a:srgbClr val="00B0F0"/>
              </a:buClr>
              <a:buFont typeface="Wingdings" panose="05000000000000000000" pitchFamily="2" charset="2"/>
              <a:buChar char="§"/>
              <a:tabLst>
                <a:tab pos="354965" algn="l"/>
                <a:tab pos="355600" algn="l"/>
              </a:tabLst>
            </a:pPr>
            <a:endParaRPr lang="en-US" sz="2200" spc="-5" dirty="0" smtClean="0">
              <a:latin typeface="Arial"/>
              <a:cs typeface="Arial"/>
            </a:endParaRPr>
          </a:p>
          <a:p>
            <a:pPr marL="355600" marR="287020" indent="-342900">
              <a:lnSpc>
                <a:spcPct val="100000"/>
              </a:lnSpc>
              <a:buClr>
                <a:srgbClr val="00B0F0"/>
              </a:buClr>
              <a:buFont typeface="Wingdings" panose="05000000000000000000" pitchFamily="2" charset="2"/>
              <a:buChar char="§"/>
              <a:tabLst>
                <a:tab pos="354965" algn="l"/>
                <a:tab pos="355600" algn="l"/>
              </a:tabLst>
            </a:pPr>
            <a:r>
              <a:rPr sz="2200" spc="-5" dirty="0" smtClean="0">
                <a:latin typeface="Arial"/>
                <a:cs typeface="Arial"/>
              </a:rPr>
              <a:t>Other </a:t>
            </a:r>
            <a:r>
              <a:rPr sz="2200" spc="-5" dirty="0">
                <a:latin typeface="Arial"/>
                <a:cs typeface="Arial"/>
              </a:rPr>
              <a:t>important Organizational Units that are  necessary are Client, Company Code, Plant, Storage  Location and Shipping Point</a:t>
            </a:r>
          </a:p>
        </p:txBody>
      </p:sp>
      <p:sp>
        <p:nvSpPr>
          <p:cNvPr id="4" name="object 4"/>
          <p:cNvSpPr/>
          <p:nvPr/>
        </p:nvSpPr>
        <p:spPr>
          <a:xfrm>
            <a:off x="5494976" y="2605044"/>
            <a:ext cx="1189355" cy="1936114"/>
          </a:xfrm>
          <a:custGeom>
            <a:avLst/>
            <a:gdLst/>
            <a:ahLst/>
            <a:cxnLst/>
            <a:rect l="l" t="t" r="r" b="b"/>
            <a:pathLst>
              <a:path w="1189354" h="1936114">
                <a:moveTo>
                  <a:pt x="1189130" y="0"/>
                </a:moveTo>
                <a:lnTo>
                  <a:pt x="0" y="0"/>
                </a:lnTo>
                <a:lnTo>
                  <a:pt x="0" y="1935937"/>
                </a:lnTo>
                <a:lnTo>
                  <a:pt x="1189130" y="1935937"/>
                </a:lnTo>
                <a:lnTo>
                  <a:pt x="1189130" y="1680938"/>
                </a:lnTo>
                <a:lnTo>
                  <a:pt x="1187607" y="1584375"/>
                </a:lnTo>
                <a:lnTo>
                  <a:pt x="1189130" y="0"/>
                </a:lnTo>
                <a:close/>
              </a:path>
            </a:pathLst>
          </a:custGeom>
          <a:solidFill>
            <a:srgbClr val="628091"/>
          </a:solidFill>
        </p:spPr>
        <p:txBody>
          <a:bodyPr wrap="square" lIns="0" tIns="0" rIns="0" bIns="0" rtlCol="0"/>
          <a:lstStyle/>
          <a:p>
            <a:endParaRPr/>
          </a:p>
        </p:txBody>
      </p:sp>
      <p:sp>
        <p:nvSpPr>
          <p:cNvPr id="5" name="object 5"/>
          <p:cNvSpPr/>
          <p:nvPr/>
        </p:nvSpPr>
        <p:spPr>
          <a:xfrm>
            <a:off x="5386323" y="1995508"/>
            <a:ext cx="1365672" cy="2448905"/>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sldNum" sz="quarter" idx="7"/>
          </p:nvPr>
        </p:nvSpPr>
        <p:spPr>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9</a:t>
            </a:fld>
            <a:endParaRPr sz="1200">
              <a:latin typeface="Symbol"/>
              <a:cs typeface="Symbo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
  <TotalTime>316</TotalTime>
  <Words>2542</Words>
  <Application>Microsoft Office PowerPoint</Application>
  <PresentationFormat>On-screen Show (4:3)</PresentationFormat>
  <Paragraphs>436</Paragraphs>
  <Slides>48</Slides>
  <Notes>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0" baseType="lpstr">
      <vt:lpstr>Office Theme</vt:lpstr>
      <vt:lpstr>think-cell Slide</vt:lpstr>
      <vt:lpstr>SD Organization Structure</vt:lpstr>
      <vt:lpstr>Lesson Objectives</vt:lpstr>
      <vt:lpstr>Slide 3</vt:lpstr>
      <vt:lpstr>Lesson Objectives</vt:lpstr>
      <vt:lpstr>Organization…?</vt:lpstr>
      <vt:lpstr>Organization Structure</vt:lpstr>
      <vt:lpstr>Slide 7</vt:lpstr>
      <vt:lpstr>Challenges</vt:lpstr>
      <vt:lpstr>Definition of Organizational units</vt:lpstr>
      <vt:lpstr>Client</vt:lpstr>
      <vt:lpstr>Company Code</vt:lpstr>
      <vt:lpstr>Sales Organization</vt:lpstr>
      <vt:lpstr>Distributional Channel</vt:lpstr>
      <vt:lpstr>Division</vt:lpstr>
      <vt:lpstr>Sales Office</vt:lpstr>
      <vt:lpstr>Sales Group</vt:lpstr>
      <vt:lpstr>Plant</vt:lpstr>
      <vt:lpstr>Storage Location</vt:lpstr>
      <vt:lpstr>Shipping Point</vt:lpstr>
      <vt:lpstr>Assignment of Organizational units</vt:lpstr>
      <vt:lpstr>Assignment of Organizational units`</vt:lpstr>
      <vt:lpstr>Environment</vt:lpstr>
      <vt:lpstr>Configuration</vt:lpstr>
      <vt:lpstr>Define Sales Organization</vt:lpstr>
      <vt:lpstr>Define Sales Organization</vt:lpstr>
      <vt:lpstr>Assign Sales Organization to Company Code</vt:lpstr>
      <vt:lpstr>Sales Organization - Uses</vt:lpstr>
      <vt:lpstr>Define Distributional Channel</vt:lpstr>
      <vt:lpstr>Assign Distribution channel to Sales Organization</vt:lpstr>
      <vt:lpstr>Define Division</vt:lpstr>
      <vt:lpstr>Assign Division to Sales Organization</vt:lpstr>
      <vt:lpstr>Set-up Sales Area</vt:lpstr>
      <vt:lpstr>Set-up Sales Area</vt:lpstr>
      <vt:lpstr>Sales Organization &amp; Master Data</vt:lpstr>
      <vt:lpstr>Sales Organization &amp; Master Data</vt:lpstr>
      <vt:lpstr>Define Sales Office</vt:lpstr>
      <vt:lpstr>Assign Sales Office to Sales Area</vt:lpstr>
      <vt:lpstr>Sales Group</vt:lpstr>
      <vt:lpstr>Assign Sales Group to Sales Office</vt:lpstr>
      <vt:lpstr>Assign Sales Organization and Distributional Channel to Plant</vt:lpstr>
      <vt:lpstr>Shipping Point</vt:lpstr>
      <vt:lpstr>Assign Shipping Point to Plant</vt:lpstr>
      <vt:lpstr>Assign Shipping Point to Plant</vt:lpstr>
      <vt:lpstr>Attributes &amp; Application</vt:lpstr>
      <vt:lpstr>Attributes &amp; Application</vt:lpstr>
      <vt:lpstr>Transaction Codes</vt:lpstr>
      <vt:lpstr>Tips and Tricks</vt:lpstr>
      <vt:lpstr>Additional Information</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D1001 SD Organization Structure</dc:title>
  <dc:subject>SD Training User Manual</dc:subject>
  <dc:creator>Avinash Karve</dc:creator>
  <cp:lastModifiedBy>amnanda</cp:lastModifiedBy>
  <cp:revision>42</cp:revision>
  <dcterms:created xsi:type="dcterms:W3CDTF">2017-07-18T08:19:28Z</dcterms:created>
  <dcterms:modified xsi:type="dcterms:W3CDTF">2017-08-25T14:30: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6-01-21T00:00:00Z</vt:filetime>
  </property>
  <property fmtid="{D5CDD505-2E9C-101B-9397-08002B2CF9AE}" pid="3" name="Creator">
    <vt:lpwstr>Microsoft® Office PowerPoint® 2007</vt:lpwstr>
  </property>
  <property fmtid="{D5CDD505-2E9C-101B-9397-08002B2CF9AE}" pid="4" name="LastSaved">
    <vt:filetime>2017-07-18T00:00:00Z</vt:filetime>
  </property>
</Properties>
</file>